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6"/>
  </p:notesMasterIdLst>
  <p:sldIdLst>
    <p:sldId id="3343" r:id="rId2"/>
    <p:sldId id="256" r:id="rId3"/>
    <p:sldId id="272" r:id="rId4"/>
    <p:sldId id="273" r:id="rId5"/>
    <p:sldId id="274" r:id="rId6"/>
    <p:sldId id="281" r:id="rId7"/>
    <p:sldId id="282" r:id="rId8"/>
    <p:sldId id="275" r:id="rId9"/>
    <p:sldId id="277" r:id="rId10"/>
    <p:sldId id="3354" r:id="rId11"/>
    <p:sldId id="3355" r:id="rId12"/>
    <p:sldId id="3356" r:id="rId13"/>
    <p:sldId id="3357" r:id="rId14"/>
    <p:sldId id="3358" r:id="rId15"/>
    <p:sldId id="3359" r:id="rId16"/>
    <p:sldId id="3360" r:id="rId17"/>
    <p:sldId id="278" r:id="rId18"/>
    <p:sldId id="283" r:id="rId19"/>
    <p:sldId id="257" r:id="rId20"/>
    <p:sldId id="258" r:id="rId21"/>
    <p:sldId id="259" r:id="rId22"/>
    <p:sldId id="260" r:id="rId23"/>
    <p:sldId id="264" r:id="rId24"/>
    <p:sldId id="269" r:id="rId25"/>
    <p:sldId id="270" r:id="rId26"/>
    <p:sldId id="271" r:id="rId27"/>
    <p:sldId id="265" r:id="rId28"/>
    <p:sldId id="266" r:id="rId29"/>
    <p:sldId id="267" r:id="rId30"/>
    <p:sldId id="261" r:id="rId31"/>
    <p:sldId id="262" r:id="rId32"/>
    <p:sldId id="3347" r:id="rId33"/>
    <p:sldId id="3348" r:id="rId34"/>
    <p:sldId id="3349" r:id="rId35"/>
    <p:sldId id="3350" r:id="rId36"/>
    <p:sldId id="3351" r:id="rId37"/>
    <p:sldId id="3352" r:id="rId38"/>
    <p:sldId id="3353" r:id="rId39"/>
    <p:sldId id="263" r:id="rId40"/>
    <p:sldId id="279" r:id="rId41"/>
    <p:sldId id="280" r:id="rId42"/>
    <p:sldId id="268" r:id="rId43"/>
    <p:sldId id="3346" r:id="rId44"/>
    <p:sldId id="276" r:id="rId45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06FF"/>
    <a:srgbClr val="BF9000"/>
    <a:srgbClr val="942092"/>
    <a:srgbClr val="006700"/>
    <a:srgbClr val="FF61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3FCA20-FCA2-3F40-8503-AF89E197B5C6}" v="78" dt="2023-09-06T14:29:52.3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052"/>
    <p:restoredTop sz="96327"/>
  </p:normalViewPr>
  <p:slideViewPr>
    <p:cSldViewPr snapToGrid="0">
      <p:cViewPr varScale="1">
        <p:scale>
          <a:sx n="221" d="100"/>
          <a:sy n="221" d="100"/>
        </p:scale>
        <p:origin x="36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microsoft.com/office/2016/11/relationships/changesInfo" Target="changesInfos/changesInfo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en Gao" userId="753ca5ad-a66a-4072-86ff-fe9bc8c0233d" providerId="ADAL" clId="{D13FCA20-FCA2-3F40-8503-AF89E197B5C6}"/>
    <pc:docChg chg="undo redo custSel addSld modSld">
      <pc:chgData name="Zhen Gao" userId="753ca5ad-a66a-4072-86ff-fe9bc8c0233d" providerId="ADAL" clId="{D13FCA20-FCA2-3F40-8503-AF89E197B5C6}" dt="2023-09-06T14:29:52.351" v="684" actId="478"/>
      <pc:docMkLst>
        <pc:docMk/>
      </pc:docMkLst>
      <pc:sldChg chg="addSp modSp mod">
        <pc:chgData name="Zhen Gao" userId="753ca5ad-a66a-4072-86ff-fe9bc8c0233d" providerId="ADAL" clId="{D13FCA20-FCA2-3F40-8503-AF89E197B5C6}" dt="2023-09-06T13:29:39.436" v="345" actId="1076"/>
        <pc:sldMkLst>
          <pc:docMk/>
          <pc:sldMk cId="0" sldId="262"/>
        </pc:sldMkLst>
        <pc:spChg chg="add mod">
          <ac:chgData name="Zhen Gao" userId="753ca5ad-a66a-4072-86ff-fe9bc8c0233d" providerId="ADAL" clId="{D13FCA20-FCA2-3F40-8503-AF89E197B5C6}" dt="2023-09-06T13:27:24.151" v="272" actId="1037"/>
          <ac:spMkLst>
            <pc:docMk/>
            <pc:sldMk cId="0" sldId="262"/>
            <ac:spMk id="2" creationId="{EC282A86-BC43-88E9-15A1-D19F55469F8E}"/>
          </ac:spMkLst>
        </pc:spChg>
        <pc:spChg chg="add mod">
          <ac:chgData name="Zhen Gao" userId="753ca5ad-a66a-4072-86ff-fe9bc8c0233d" providerId="ADAL" clId="{D13FCA20-FCA2-3F40-8503-AF89E197B5C6}" dt="2023-09-06T13:27:24.151" v="272" actId="1037"/>
          <ac:spMkLst>
            <pc:docMk/>
            <pc:sldMk cId="0" sldId="262"/>
            <ac:spMk id="3" creationId="{0E6E10B0-C0A9-0BED-1B4F-B4170BADC731}"/>
          </ac:spMkLst>
        </pc:spChg>
        <pc:spChg chg="add mod">
          <ac:chgData name="Zhen Gao" userId="753ca5ad-a66a-4072-86ff-fe9bc8c0233d" providerId="ADAL" clId="{D13FCA20-FCA2-3F40-8503-AF89E197B5C6}" dt="2023-09-06T13:27:24.151" v="272" actId="1037"/>
          <ac:spMkLst>
            <pc:docMk/>
            <pc:sldMk cId="0" sldId="262"/>
            <ac:spMk id="4" creationId="{FDE0D05F-333F-9214-1AF9-4CE117617BB6}"/>
          </ac:spMkLst>
        </pc:spChg>
        <pc:spChg chg="add mod">
          <ac:chgData name="Zhen Gao" userId="753ca5ad-a66a-4072-86ff-fe9bc8c0233d" providerId="ADAL" clId="{D13FCA20-FCA2-3F40-8503-AF89E197B5C6}" dt="2023-09-06T13:27:24.151" v="272" actId="1037"/>
          <ac:spMkLst>
            <pc:docMk/>
            <pc:sldMk cId="0" sldId="262"/>
            <ac:spMk id="5" creationId="{04ABB473-7FDA-EE46-97D4-CEFD912714D4}"/>
          </ac:spMkLst>
        </pc:spChg>
        <pc:spChg chg="add mod">
          <ac:chgData name="Zhen Gao" userId="753ca5ad-a66a-4072-86ff-fe9bc8c0233d" providerId="ADAL" clId="{D13FCA20-FCA2-3F40-8503-AF89E197B5C6}" dt="2023-09-06T13:27:24.151" v="272" actId="1037"/>
          <ac:spMkLst>
            <pc:docMk/>
            <pc:sldMk cId="0" sldId="262"/>
            <ac:spMk id="6" creationId="{EC9BAB72-FCCA-AC0A-27C2-07CC74E53536}"/>
          </ac:spMkLst>
        </pc:spChg>
        <pc:spChg chg="add mod">
          <ac:chgData name="Zhen Gao" userId="753ca5ad-a66a-4072-86ff-fe9bc8c0233d" providerId="ADAL" clId="{D13FCA20-FCA2-3F40-8503-AF89E197B5C6}" dt="2023-09-06T13:27:24.151" v="272" actId="1037"/>
          <ac:spMkLst>
            <pc:docMk/>
            <pc:sldMk cId="0" sldId="262"/>
            <ac:spMk id="7" creationId="{A6DF12FC-2F83-3CCE-5CA8-948E0AAE2114}"/>
          </ac:spMkLst>
        </pc:spChg>
        <pc:spChg chg="add mod">
          <ac:chgData name="Zhen Gao" userId="753ca5ad-a66a-4072-86ff-fe9bc8c0233d" providerId="ADAL" clId="{D13FCA20-FCA2-3F40-8503-AF89E197B5C6}" dt="2023-09-06T13:27:24.151" v="272" actId="1037"/>
          <ac:spMkLst>
            <pc:docMk/>
            <pc:sldMk cId="0" sldId="262"/>
            <ac:spMk id="8" creationId="{443574BC-9E90-1651-7468-66D6F6C1BADE}"/>
          </ac:spMkLst>
        </pc:spChg>
        <pc:spChg chg="add mod">
          <ac:chgData name="Zhen Gao" userId="753ca5ad-a66a-4072-86ff-fe9bc8c0233d" providerId="ADAL" clId="{D13FCA20-FCA2-3F40-8503-AF89E197B5C6}" dt="2023-09-06T13:27:29.582" v="292" actId="1037"/>
          <ac:spMkLst>
            <pc:docMk/>
            <pc:sldMk cId="0" sldId="262"/>
            <ac:spMk id="9" creationId="{5E424F3E-1349-6641-1B9A-F0E603FAF6D2}"/>
          </ac:spMkLst>
        </pc:spChg>
        <pc:spChg chg="add mod">
          <ac:chgData name="Zhen Gao" userId="753ca5ad-a66a-4072-86ff-fe9bc8c0233d" providerId="ADAL" clId="{D13FCA20-FCA2-3F40-8503-AF89E197B5C6}" dt="2023-09-06T13:27:29.582" v="292" actId="1037"/>
          <ac:spMkLst>
            <pc:docMk/>
            <pc:sldMk cId="0" sldId="262"/>
            <ac:spMk id="10" creationId="{BBEDF6D7-BEE8-B04C-3AFF-44BF26CC44B9}"/>
          </ac:spMkLst>
        </pc:spChg>
        <pc:spChg chg="add mod">
          <ac:chgData name="Zhen Gao" userId="753ca5ad-a66a-4072-86ff-fe9bc8c0233d" providerId="ADAL" clId="{D13FCA20-FCA2-3F40-8503-AF89E197B5C6}" dt="2023-09-06T13:27:29.582" v="292" actId="1037"/>
          <ac:spMkLst>
            <pc:docMk/>
            <pc:sldMk cId="0" sldId="262"/>
            <ac:spMk id="11" creationId="{67C785F1-39A0-EE5E-730E-100CDDA678A8}"/>
          </ac:spMkLst>
        </pc:spChg>
        <pc:spChg chg="add mod">
          <ac:chgData name="Zhen Gao" userId="753ca5ad-a66a-4072-86ff-fe9bc8c0233d" providerId="ADAL" clId="{D13FCA20-FCA2-3F40-8503-AF89E197B5C6}" dt="2023-09-06T13:27:29.582" v="292" actId="1037"/>
          <ac:spMkLst>
            <pc:docMk/>
            <pc:sldMk cId="0" sldId="262"/>
            <ac:spMk id="12" creationId="{191A9DE6-57AB-2B91-972A-6149B38221E7}"/>
          </ac:spMkLst>
        </pc:spChg>
        <pc:spChg chg="add mod">
          <ac:chgData name="Zhen Gao" userId="753ca5ad-a66a-4072-86ff-fe9bc8c0233d" providerId="ADAL" clId="{D13FCA20-FCA2-3F40-8503-AF89E197B5C6}" dt="2023-09-06T13:29:39.436" v="345" actId="1076"/>
          <ac:spMkLst>
            <pc:docMk/>
            <pc:sldMk cId="0" sldId="262"/>
            <ac:spMk id="13" creationId="{7C238A61-461C-9A9E-6261-B3D138DDBBCB}"/>
          </ac:spMkLst>
        </pc:spChg>
      </pc:sldChg>
      <pc:sldChg chg="addSp delSp modSp mod">
        <pc:chgData name="Zhen Gao" userId="753ca5ad-a66a-4072-86ff-fe9bc8c0233d" providerId="ADAL" clId="{D13FCA20-FCA2-3F40-8503-AF89E197B5C6}" dt="2023-09-06T12:56:47.086" v="140" actId="20577"/>
        <pc:sldMkLst>
          <pc:docMk/>
          <pc:sldMk cId="0" sldId="272"/>
        </pc:sldMkLst>
        <pc:spChg chg="add del mod">
          <ac:chgData name="Zhen Gao" userId="753ca5ad-a66a-4072-86ff-fe9bc8c0233d" providerId="ADAL" clId="{D13FCA20-FCA2-3F40-8503-AF89E197B5C6}" dt="2023-09-06T12:50:42.071" v="25" actId="478"/>
          <ac:spMkLst>
            <pc:docMk/>
            <pc:sldMk cId="0" sldId="272"/>
            <ac:spMk id="4" creationId="{876A38EA-4A1A-87AB-5875-2948CFA6E8F0}"/>
          </ac:spMkLst>
        </pc:spChg>
        <pc:spChg chg="add del mod">
          <ac:chgData name="Zhen Gao" userId="753ca5ad-a66a-4072-86ff-fe9bc8c0233d" providerId="ADAL" clId="{D13FCA20-FCA2-3F40-8503-AF89E197B5C6}" dt="2023-09-06T12:50:31.178" v="23" actId="478"/>
          <ac:spMkLst>
            <pc:docMk/>
            <pc:sldMk cId="0" sldId="272"/>
            <ac:spMk id="5" creationId="{86C2F77C-2913-3170-7774-9F9FBCE47B54}"/>
          </ac:spMkLst>
        </pc:spChg>
        <pc:spChg chg="add del mod">
          <ac:chgData name="Zhen Gao" userId="753ca5ad-a66a-4072-86ff-fe9bc8c0233d" providerId="ADAL" clId="{D13FCA20-FCA2-3F40-8503-AF89E197B5C6}" dt="2023-09-06T12:50:37.296" v="24" actId="478"/>
          <ac:spMkLst>
            <pc:docMk/>
            <pc:sldMk cId="0" sldId="272"/>
            <ac:spMk id="6" creationId="{DD065F39-6C5B-2118-95F3-4CBC2F021363}"/>
          </ac:spMkLst>
        </pc:spChg>
        <pc:spChg chg="add mod">
          <ac:chgData name="Zhen Gao" userId="753ca5ad-a66a-4072-86ff-fe9bc8c0233d" providerId="ADAL" clId="{D13FCA20-FCA2-3F40-8503-AF89E197B5C6}" dt="2023-09-06T12:54:34.615" v="133" actId="208"/>
          <ac:spMkLst>
            <pc:docMk/>
            <pc:sldMk cId="0" sldId="272"/>
            <ac:spMk id="7" creationId="{5A070128-8200-3AF0-DBC1-46AE67A8DA72}"/>
          </ac:spMkLst>
        </pc:spChg>
        <pc:spChg chg="add del mod">
          <ac:chgData name="Zhen Gao" userId="753ca5ad-a66a-4072-86ff-fe9bc8c0233d" providerId="ADAL" clId="{D13FCA20-FCA2-3F40-8503-AF89E197B5C6}" dt="2023-09-06T12:50:47.471" v="26" actId="478"/>
          <ac:spMkLst>
            <pc:docMk/>
            <pc:sldMk cId="0" sldId="272"/>
            <ac:spMk id="8" creationId="{7BAC2765-216B-9CC7-D856-B21A52AFB008}"/>
          </ac:spMkLst>
        </pc:spChg>
        <pc:spChg chg="add mod">
          <ac:chgData name="Zhen Gao" userId="753ca5ad-a66a-4072-86ff-fe9bc8c0233d" providerId="ADAL" clId="{D13FCA20-FCA2-3F40-8503-AF89E197B5C6}" dt="2023-09-06T12:51:02.494" v="30" actId="14100"/>
          <ac:spMkLst>
            <pc:docMk/>
            <pc:sldMk cId="0" sldId="272"/>
            <ac:spMk id="9" creationId="{C9903573-D983-9F45-F84C-CEDCDE18051B}"/>
          </ac:spMkLst>
        </pc:spChg>
        <pc:spChg chg="add mod">
          <ac:chgData name="Zhen Gao" userId="753ca5ad-a66a-4072-86ff-fe9bc8c0233d" providerId="ADAL" clId="{D13FCA20-FCA2-3F40-8503-AF89E197B5C6}" dt="2023-09-06T12:51:59.404" v="36" actId="208"/>
          <ac:spMkLst>
            <pc:docMk/>
            <pc:sldMk cId="0" sldId="272"/>
            <ac:spMk id="10" creationId="{6707573C-78EE-BDF0-1168-264F5B1004FF}"/>
          </ac:spMkLst>
        </pc:spChg>
        <pc:spChg chg="del">
          <ac:chgData name="Zhen Gao" userId="753ca5ad-a66a-4072-86ff-fe9bc8c0233d" providerId="ADAL" clId="{D13FCA20-FCA2-3F40-8503-AF89E197B5C6}" dt="2023-09-06T12:49:48.835" v="12" actId="478"/>
          <ac:spMkLst>
            <pc:docMk/>
            <pc:sldMk cId="0" sldId="272"/>
            <ac:spMk id="11" creationId="{33496359-85F2-5CB8-51F2-AAD7E75C3EAE}"/>
          </ac:spMkLst>
        </pc:spChg>
        <pc:spChg chg="del mod">
          <ac:chgData name="Zhen Gao" userId="753ca5ad-a66a-4072-86ff-fe9bc8c0233d" providerId="ADAL" clId="{D13FCA20-FCA2-3F40-8503-AF89E197B5C6}" dt="2023-09-06T12:50:01.185" v="14" actId="478"/>
          <ac:spMkLst>
            <pc:docMk/>
            <pc:sldMk cId="0" sldId="272"/>
            <ac:spMk id="13" creationId="{0C0E5FFE-1087-4CE8-8887-B49A26E67851}"/>
          </ac:spMkLst>
        </pc:spChg>
        <pc:spChg chg="del">
          <ac:chgData name="Zhen Gao" userId="753ca5ad-a66a-4072-86ff-fe9bc8c0233d" providerId="ADAL" clId="{D13FCA20-FCA2-3F40-8503-AF89E197B5C6}" dt="2023-09-06T12:50:37.296" v="24" actId="478"/>
          <ac:spMkLst>
            <pc:docMk/>
            <pc:sldMk cId="0" sldId="272"/>
            <ac:spMk id="15" creationId="{F2536004-5A50-7884-701E-96156BF9D893}"/>
          </ac:spMkLst>
        </pc:spChg>
        <pc:spChg chg="mod">
          <ac:chgData name="Zhen Gao" userId="753ca5ad-a66a-4072-86ff-fe9bc8c0233d" providerId="ADAL" clId="{D13FCA20-FCA2-3F40-8503-AF89E197B5C6}" dt="2023-09-06T12:52:12.700" v="42" actId="1076"/>
          <ac:spMkLst>
            <pc:docMk/>
            <pc:sldMk cId="0" sldId="272"/>
            <ac:spMk id="17" creationId="{536BE5A8-8AAA-5F10-E085-80AC1D904008}"/>
          </ac:spMkLst>
        </pc:spChg>
        <pc:spChg chg="del">
          <ac:chgData name="Zhen Gao" userId="753ca5ad-a66a-4072-86ff-fe9bc8c0233d" providerId="ADAL" clId="{D13FCA20-FCA2-3F40-8503-AF89E197B5C6}" dt="2023-09-06T12:50:37.296" v="24" actId="478"/>
          <ac:spMkLst>
            <pc:docMk/>
            <pc:sldMk cId="0" sldId="272"/>
            <ac:spMk id="18" creationId="{84E5070E-FC97-D97C-09BB-F5674179E91C}"/>
          </ac:spMkLst>
        </pc:spChg>
        <pc:spChg chg="del mod">
          <ac:chgData name="Zhen Gao" userId="753ca5ad-a66a-4072-86ff-fe9bc8c0233d" providerId="ADAL" clId="{D13FCA20-FCA2-3F40-8503-AF89E197B5C6}" dt="2023-09-06T12:49:48.835" v="12" actId="478"/>
          <ac:spMkLst>
            <pc:docMk/>
            <pc:sldMk cId="0" sldId="272"/>
            <ac:spMk id="19" creationId="{A47E638A-5984-25CA-3FCD-49AB330FF4F8}"/>
          </ac:spMkLst>
        </pc:spChg>
        <pc:spChg chg="del">
          <ac:chgData name="Zhen Gao" userId="753ca5ad-a66a-4072-86ff-fe9bc8c0233d" providerId="ADAL" clId="{D13FCA20-FCA2-3F40-8503-AF89E197B5C6}" dt="2023-09-06T12:49:48.835" v="12" actId="478"/>
          <ac:spMkLst>
            <pc:docMk/>
            <pc:sldMk cId="0" sldId="272"/>
            <ac:spMk id="20" creationId="{6ADFDFE4-4B27-0B96-F0B3-7A998F5526BD}"/>
          </ac:spMkLst>
        </pc:spChg>
        <pc:spChg chg="mod">
          <ac:chgData name="Zhen Gao" userId="753ca5ad-a66a-4072-86ff-fe9bc8c0233d" providerId="ADAL" clId="{D13FCA20-FCA2-3F40-8503-AF89E197B5C6}" dt="2023-09-06T12:56:47.086" v="140" actId="20577"/>
          <ac:spMkLst>
            <pc:docMk/>
            <pc:sldMk cId="0" sldId="272"/>
            <ac:spMk id="3083" creationId="{7AABA583-1DD3-EFD3-3AFC-F4F99A18EB63}"/>
          </ac:spMkLst>
        </pc:spChg>
        <pc:picChg chg="add mod">
          <ac:chgData name="Zhen Gao" userId="753ca5ad-a66a-4072-86ff-fe9bc8c0233d" providerId="ADAL" clId="{D13FCA20-FCA2-3F40-8503-AF89E197B5C6}" dt="2023-09-06T12:50:49.718" v="27" actId="1076"/>
          <ac:picMkLst>
            <pc:docMk/>
            <pc:sldMk cId="0" sldId="272"/>
            <ac:picMk id="3" creationId="{8C9D1CA7-4466-B8E7-C27E-89F444DB7563}"/>
          </ac:picMkLst>
        </pc:picChg>
        <pc:picChg chg="del">
          <ac:chgData name="Zhen Gao" userId="753ca5ad-a66a-4072-86ff-fe9bc8c0233d" providerId="ADAL" clId="{D13FCA20-FCA2-3F40-8503-AF89E197B5C6}" dt="2023-09-06T12:47:49.466" v="1" actId="478"/>
          <ac:picMkLst>
            <pc:docMk/>
            <pc:sldMk cId="0" sldId="272"/>
            <ac:picMk id="3074" creationId="{3B29DFFA-61BB-0C1D-C55E-873272755F38}"/>
          </ac:picMkLst>
        </pc:picChg>
      </pc:sldChg>
      <pc:sldChg chg="addSp delSp modSp mod">
        <pc:chgData name="Zhen Gao" userId="753ca5ad-a66a-4072-86ff-fe9bc8c0233d" providerId="ADAL" clId="{D13FCA20-FCA2-3F40-8503-AF89E197B5C6}" dt="2023-09-06T12:59:56.949" v="150" actId="20577"/>
        <pc:sldMkLst>
          <pc:docMk/>
          <pc:sldMk cId="0" sldId="273"/>
        </pc:sldMkLst>
        <pc:spChg chg="add mod">
          <ac:chgData name="Zhen Gao" userId="753ca5ad-a66a-4072-86ff-fe9bc8c0233d" providerId="ADAL" clId="{D13FCA20-FCA2-3F40-8503-AF89E197B5C6}" dt="2023-09-06T12:57:23.431" v="143"/>
          <ac:spMkLst>
            <pc:docMk/>
            <pc:sldMk cId="0" sldId="273"/>
            <ac:spMk id="4" creationId="{E3681A5A-6A87-F19F-92CB-38C0A12DF7CE}"/>
          </ac:spMkLst>
        </pc:spChg>
        <pc:spChg chg="add mod">
          <ac:chgData name="Zhen Gao" userId="753ca5ad-a66a-4072-86ff-fe9bc8c0233d" providerId="ADAL" clId="{D13FCA20-FCA2-3F40-8503-AF89E197B5C6}" dt="2023-09-06T12:57:48.192" v="148" actId="1076"/>
          <ac:spMkLst>
            <pc:docMk/>
            <pc:sldMk cId="0" sldId="273"/>
            <ac:spMk id="5" creationId="{CADFE5C2-BFD9-D3AE-94B1-9A9DF02D5A4E}"/>
          </ac:spMkLst>
        </pc:spChg>
        <pc:spChg chg="add mod">
          <ac:chgData name="Zhen Gao" userId="753ca5ad-a66a-4072-86ff-fe9bc8c0233d" providerId="ADAL" clId="{D13FCA20-FCA2-3F40-8503-AF89E197B5C6}" dt="2023-09-06T12:57:44.105" v="147" actId="1076"/>
          <ac:spMkLst>
            <pc:docMk/>
            <pc:sldMk cId="0" sldId="273"/>
            <ac:spMk id="6" creationId="{6E3413BE-6BC8-3D5B-6940-94BD64DCEB37}"/>
          </ac:spMkLst>
        </pc:spChg>
        <pc:spChg chg="del">
          <ac:chgData name="Zhen Gao" userId="753ca5ad-a66a-4072-86ff-fe9bc8c0233d" providerId="ADAL" clId="{D13FCA20-FCA2-3F40-8503-AF89E197B5C6}" dt="2023-09-06T12:55:57.504" v="134" actId="478"/>
          <ac:spMkLst>
            <pc:docMk/>
            <pc:sldMk cId="0" sldId="273"/>
            <ac:spMk id="11" creationId="{1EE2469B-8F1F-A877-5EEB-0D4EFB319EBB}"/>
          </ac:spMkLst>
        </pc:spChg>
        <pc:spChg chg="del">
          <ac:chgData name="Zhen Gao" userId="753ca5ad-a66a-4072-86ff-fe9bc8c0233d" providerId="ADAL" clId="{D13FCA20-FCA2-3F40-8503-AF89E197B5C6}" dt="2023-09-06T12:55:57.504" v="134" actId="478"/>
          <ac:spMkLst>
            <pc:docMk/>
            <pc:sldMk cId="0" sldId="273"/>
            <ac:spMk id="13" creationId="{3B237E64-67C5-500F-FBF6-FE0EA60BABE3}"/>
          </ac:spMkLst>
        </pc:spChg>
        <pc:spChg chg="del">
          <ac:chgData name="Zhen Gao" userId="753ca5ad-a66a-4072-86ff-fe9bc8c0233d" providerId="ADAL" clId="{D13FCA20-FCA2-3F40-8503-AF89E197B5C6}" dt="2023-09-06T12:55:57.504" v="134" actId="478"/>
          <ac:spMkLst>
            <pc:docMk/>
            <pc:sldMk cId="0" sldId="273"/>
            <ac:spMk id="15" creationId="{8754CF47-3536-1A81-FE99-D046F4ADE887}"/>
          </ac:spMkLst>
        </pc:spChg>
        <pc:spChg chg="del">
          <ac:chgData name="Zhen Gao" userId="753ca5ad-a66a-4072-86ff-fe9bc8c0233d" providerId="ADAL" clId="{D13FCA20-FCA2-3F40-8503-AF89E197B5C6}" dt="2023-09-06T12:55:57.504" v="134" actId="478"/>
          <ac:spMkLst>
            <pc:docMk/>
            <pc:sldMk cId="0" sldId="273"/>
            <ac:spMk id="16" creationId="{C6319A52-C8B3-C747-9B96-3DFA062E33D6}"/>
          </ac:spMkLst>
        </pc:spChg>
        <pc:spChg chg="del">
          <ac:chgData name="Zhen Gao" userId="753ca5ad-a66a-4072-86ff-fe9bc8c0233d" providerId="ADAL" clId="{D13FCA20-FCA2-3F40-8503-AF89E197B5C6}" dt="2023-09-06T12:55:57.504" v="134" actId="478"/>
          <ac:spMkLst>
            <pc:docMk/>
            <pc:sldMk cId="0" sldId="273"/>
            <ac:spMk id="18" creationId="{B21C526F-5903-E37C-AE44-52CBAFE30B88}"/>
          </ac:spMkLst>
        </pc:spChg>
        <pc:spChg chg="del">
          <ac:chgData name="Zhen Gao" userId="753ca5ad-a66a-4072-86ff-fe9bc8c0233d" providerId="ADAL" clId="{D13FCA20-FCA2-3F40-8503-AF89E197B5C6}" dt="2023-09-06T12:55:57.504" v="134" actId="478"/>
          <ac:spMkLst>
            <pc:docMk/>
            <pc:sldMk cId="0" sldId="273"/>
            <ac:spMk id="19" creationId="{96C0A907-32CB-13CB-FBEE-DAAA3C6C4757}"/>
          </ac:spMkLst>
        </pc:spChg>
        <pc:spChg chg="mod">
          <ac:chgData name="Zhen Gao" userId="753ca5ad-a66a-4072-86ff-fe9bc8c0233d" providerId="ADAL" clId="{D13FCA20-FCA2-3F40-8503-AF89E197B5C6}" dt="2023-09-06T12:59:56.949" v="150" actId="20577"/>
          <ac:spMkLst>
            <pc:docMk/>
            <pc:sldMk cId="0" sldId="273"/>
            <ac:spMk id="4105" creationId="{80632205-89BF-CCA7-C292-E827E2D206B2}"/>
          </ac:spMkLst>
        </pc:spChg>
        <pc:picChg chg="add mod">
          <ac:chgData name="Zhen Gao" userId="753ca5ad-a66a-4072-86ff-fe9bc8c0233d" providerId="ADAL" clId="{D13FCA20-FCA2-3F40-8503-AF89E197B5C6}" dt="2023-09-06T12:57:36.537" v="146" actId="14100"/>
          <ac:picMkLst>
            <pc:docMk/>
            <pc:sldMk cId="0" sldId="273"/>
            <ac:picMk id="3" creationId="{C145B1DF-4E46-26B7-6B32-1587A9E62795}"/>
          </ac:picMkLst>
        </pc:picChg>
        <pc:picChg chg="del">
          <ac:chgData name="Zhen Gao" userId="753ca5ad-a66a-4072-86ff-fe9bc8c0233d" providerId="ADAL" clId="{D13FCA20-FCA2-3F40-8503-AF89E197B5C6}" dt="2023-09-06T12:55:57.504" v="134" actId="478"/>
          <ac:picMkLst>
            <pc:docMk/>
            <pc:sldMk cId="0" sldId="273"/>
            <ac:picMk id="4098" creationId="{93036F34-DE22-1463-C4FB-869D4EF455E7}"/>
          </ac:picMkLst>
        </pc:picChg>
      </pc:sldChg>
      <pc:sldChg chg="addSp delSp modSp mod">
        <pc:chgData name="Zhen Gao" userId="753ca5ad-a66a-4072-86ff-fe9bc8c0233d" providerId="ADAL" clId="{D13FCA20-FCA2-3F40-8503-AF89E197B5C6}" dt="2023-09-06T13:10:11.316" v="209" actId="1076"/>
        <pc:sldMkLst>
          <pc:docMk/>
          <pc:sldMk cId="0" sldId="274"/>
        </pc:sldMkLst>
        <pc:spChg chg="add mod">
          <ac:chgData name="Zhen Gao" userId="753ca5ad-a66a-4072-86ff-fe9bc8c0233d" providerId="ADAL" clId="{D13FCA20-FCA2-3F40-8503-AF89E197B5C6}" dt="2023-09-06T13:07:10.433" v="192" actId="1076"/>
          <ac:spMkLst>
            <pc:docMk/>
            <pc:sldMk cId="0" sldId="274"/>
            <ac:spMk id="4" creationId="{B75954BB-CF69-C534-43E4-303D41E5F5C8}"/>
          </ac:spMkLst>
        </pc:spChg>
        <pc:spChg chg="add mod">
          <ac:chgData name="Zhen Gao" userId="753ca5ad-a66a-4072-86ff-fe9bc8c0233d" providerId="ADAL" clId="{D13FCA20-FCA2-3F40-8503-AF89E197B5C6}" dt="2023-09-06T13:06:26.302" v="185" actId="14100"/>
          <ac:spMkLst>
            <pc:docMk/>
            <pc:sldMk cId="0" sldId="274"/>
            <ac:spMk id="5" creationId="{ECB7BE9B-ECD8-6961-4786-C3915BD1E9FD}"/>
          </ac:spMkLst>
        </pc:spChg>
        <pc:spChg chg="add mod">
          <ac:chgData name="Zhen Gao" userId="753ca5ad-a66a-4072-86ff-fe9bc8c0233d" providerId="ADAL" clId="{D13FCA20-FCA2-3F40-8503-AF89E197B5C6}" dt="2023-09-06T13:06:28.538" v="186" actId="14100"/>
          <ac:spMkLst>
            <pc:docMk/>
            <pc:sldMk cId="0" sldId="274"/>
            <ac:spMk id="6" creationId="{FC7ADE07-7F67-D800-55F9-B260C7AE7654}"/>
          </ac:spMkLst>
        </pc:spChg>
        <pc:spChg chg="add del mod">
          <ac:chgData name="Zhen Gao" userId="753ca5ad-a66a-4072-86ff-fe9bc8c0233d" providerId="ADAL" clId="{D13FCA20-FCA2-3F40-8503-AF89E197B5C6}" dt="2023-09-06T13:05:04.267" v="176" actId="478"/>
          <ac:spMkLst>
            <pc:docMk/>
            <pc:sldMk cId="0" sldId="274"/>
            <ac:spMk id="7" creationId="{12FAF5F9-E77B-191B-4B2D-D29F30280C4A}"/>
          </ac:spMkLst>
        </pc:spChg>
        <pc:spChg chg="add del mod">
          <ac:chgData name="Zhen Gao" userId="753ca5ad-a66a-4072-86ff-fe9bc8c0233d" providerId="ADAL" clId="{D13FCA20-FCA2-3F40-8503-AF89E197B5C6}" dt="2023-09-06T13:05:04.267" v="176" actId="478"/>
          <ac:spMkLst>
            <pc:docMk/>
            <pc:sldMk cId="0" sldId="274"/>
            <ac:spMk id="8" creationId="{F1188524-95DC-7F83-BE8E-E6C638FE2FCE}"/>
          </ac:spMkLst>
        </pc:spChg>
        <pc:spChg chg="add del mod">
          <ac:chgData name="Zhen Gao" userId="753ca5ad-a66a-4072-86ff-fe9bc8c0233d" providerId="ADAL" clId="{D13FCA20-FCA2-3F40-8503-AF89E197B5C6}" dt="2023-09-06T13:05:04.267" v="176" actId="478"/>
          <ac:spMkLst>
            <pc:docMk/>
            <pc:sldMk cId="0" sldId="274"/>
            <ac:spMk id="9" creationId="{2F7B947C-B54E-895B-3573-90E78C5EBA22}"/>
          </ac:spMkLst>
        </pc:spChg>
        <pc:spChg chg="add mod">
          <ac:chgData name="Zhen Gao" userId="753ca5ad-a66a-4072-86ff-fe9bc8c0233d" providerId="ADAL" clId="{D13FCA20-FCA2-3F40-8503-AF89E197B5C6}" dt="2023-09-06T13:06:30.734" v="187" actId="14100"/>
          <ac:spMkLst>
            <pc:docMk/>
            <pc:sldMk cId="0" sldId="274"/>
            <ac:spMk id="10" creationId="{B6824FFA-F291-662F-2B05-391BFB3D75A1}"/>
          </ac:spMkLst>
        </pc:spChg>
        <pc:spChg chg="del">
          <ac:chgData name="Zhen Gao" userId="753ca5ad-a66a-4072-86ff-fe9bc8c0233d" providerId="ADAL" clId="{D13FCA20-FCA2-3F40-8503-AF89E197B5C6}" dt="2023-09-06T13:00:14.508" v="151" actId="478"/>
          <ac:spMkLst>
            <pc:docMk/>
            <pc:sldMk cId="0" sldId="274"/>
            <ac:spMk id="11" creationId="{20443EC8-4CA5-71E0-A271-1F974346D60B}"/>
          </ac:spMkLst>
        </pc:spChg>
        <pc:spChg chg="del">
          <ac:chgData name="Zhen Gao" userId="753ca5ad-a66a-4072-86ff-fe9bc8c0233d" providerId="ADAL" clId="{D13FCA20-FCA2-3F40-8503-AF89E197B5C6}" dt="2023-09-06T13:00:19.643" v="152" actId="478"/>
          <ac:spMkLst>
            <pc:docMk/>
            <pc:sldMk cId="0" sldId="274"/>
            <ac:spMk id="13" creationId="{FF611FC3-1733-3BC5-EDB0-952848C66D11}"/>
          </ac:spMkLst>
        </pc:spChg>
        <pc:spChg chg="del">
          <ac:chgData name="Zhen Gao" userId="753ca5ad-a66a-4072-86ff-fe9bc8c0233d" providerId="ADAL" clId="{D13FCA20-FCA2-3F40-8503-AF89E197B5C6}" dt="2023-09-06T13:00:19.643" v="152" actId="478"/>
          <ac:spMkLst>
            <pc:docMk/>
            <pc:sldMk cId="0" sldId="274"/>
            <ac:spMk id="15" creationId="{26406405-1D05-9D7C-AF52-0A22956534D6}"/>
          </ac:spMkLst>
        </pc:spChg>
        <pc:spChg chg="del">
          <ac:chgData name="Zhen Gao" userId="753ca5ad-a66a-4072-86ff-fe9bc8c0233d" providerId="ADAL" clId="{D13FCA20-FCA2-3F40-8503-AF89E197B5C6}" dt="2023-09-06T13:00:14.508" v="151" actId="478"/>
          <ac:spMkLst>
            <pc:docMk/>
            <pc:sldMk cId="0" sldId="274"/>
            <ac:spMk id="16" creationId="{F63EA555-8F64-A9F5-D515-AFB7B66ADEE8}"/>
          </ac:spMkLst>
        </pc:spChg>
        <pc:spChg chg="del">
          <ac:chgData name="Zhen Gao" userId="753ca5ad-a66a-4072-86ff-fe9bc8c0233d" providerId="ADAL" clId="{D13FCA20-FCA2-3F40-8503-AF89E197B5C6}" dt="2023-09-06T13:00:14.508" v="151" actId="478"/>
          <ac:spMkLst>
            <pc:docMk/>
            <pc:sldMk cId="0" sldId="274"/>
            <ac:spMk id="17" creationId="{DC5A02DB-F433-0ACF-67EC-9EF81346E15E}"/>
          </ac:spMkLst>
        </pc:spChg>
        <pc:spChg chg="del">
          <ac:chgData name="Zhen Gao" userId="753ca5ad-a66a-4072-86ff-fe9bc8c0233d" providerId="ADAL" clId="{D13FCA20-FCA2-3F40-8503-AF89E197B5C6}" dt="2023-09-06T13:00:19.643" v="152" actId="478"/>
          <ac:spMkLst>
            <pc:docMk/>
            <pc:sldMk cId="0" sldId="274"/>
            <ac:spMk id="18" creationId="{45C7FCAA-7C7C-B238-B251-5057A44B0339}"/>
          </ac:spMkLst>
        </pc:spChg>
        <pc:spChg chg="del">
          <ac:chgData name="Zhen Gao" userId="753ca5ad-a66a-4072-86ff-fe9bc8c0233d" providerId="ADAL" clId="{D13FCA20-FCA2-3F40-8503-AF89E197B5C6}" dt="2023-09-06T13:00:19.643" v="152" actId="478"/>
          <ac:spMkLst>
            <pc:docMk/>
            <pc:sldMk cId="0" sldId="274"/>
            <ac:spMk id="20" creationId="{7757CE24-1CF9-380C-639A-D66E8F49B752}"/>
          </ac:spMkLst>
        </pc:spChg>
        <pc:spChg chg="add mod">
          <ac:chgData name="Zhen Gao" userId="753ca5ad-a66a-4072-86ff-fe9bc8c0233d" providerId="ADAL" clId="{D13FCA20-FCA2-3F40-8503-AF89E197B5C6}" dt="2023-09-06T13:09:44.602" v="207" actId="208"/>
          <ac:spMkLst>
            <pc:docMk/>
            <pc:sldMk cId="0" sldId="274"/>
            <ac:spMk id="21" creationId="{1BB5CB2E-41F1-18B4-6B2A-8AE9D6DF3C40}"/>
          </ac:spMkLst>
        </pc:spChg>
        <pc:spChg chg="add mod">
          <ac:chgData name="Zhen Gao" userId="753ca5ad-a66a-4072-86ff-fe9bc8c0233d" providerId="ADAL" clId="{D13FCA20-FCA2-3F40-8503-AF89E197B5C6}" dt="2023-09-06T13:07:51.938" v="196" actId="14100"/>
          <ac:spMkLst>
            <pc:docMk/>
            <pc:sldMk cId="0" sldId="274"/>
            <ac:spMk id="22" creationId="{38487DE2-EACB-6D95-FD4C-C60D9B6544F8}"/>
          </ac:spMkLst>
        </pc:spChg>
        <pc:spChg chg="del">
          <ac:chgData name="Zhen Gao" userId="753ca5ad-a66a-4072-86ff-fe9bc8c0233d" providerId="ADAL" clId="{D13FCA20-FCA2-3F40-8503-AF89E197B5C6}" dt="2023-09-06T13:00:19.643" v="152" actId="478"/>
          <ac:spMkLst>
            <pc:docMk/>
            <pc:sldMk cId="0" sldId="274"/>
            <ac:spMk id="23" creationId="{AE070A08-8EB1-7967-BA82-688CB86E5C01}"/>
          </ac:spMkLst>
        </pc:spChg>
        <pc:spChg chg="del">
          <ac:chgData name="Zhen Gao" userId="753ca5ad-a66a-4072-86ff-fe9bc8c0233d" providerId="ADAL" clId="{D13FCA20-FCA2-3F40-8503-AF89E197B5C6}" dt="2023-09-06T13:00:14.508" v="151" actId="478"/>
          <ac:spMkLst>
            <pc:docMk/>
            <pc:sldMk cId="0" sldId="274"/>
            <ac:spMk id="24" creationId="{540E920A-55E3-BB9C-B8AA-A541AB2E0226}"/>
          </ac:spMkLst>
        </pc:spChg>
        <pc:spChg chg="add mod">
          <ac:chgData name="Zhen Gao" userId="753ca5ad-a66a-4072-86ff-fe9bc8c0233d" providerId="ADAL" clId="{D13FCA20-FCA2-3F40-8503-AF89E197B5C6}" dt="2023-09-06T13:08:31.080" v="199" actId="1076"/>
          <ac:spMkLst>
            <pc:docMk/>
            <pc:sldMk cId="0" sldId="274"/>
            <ac:spMk id="26" creationId="{D53D6C6B-4AE5-93ED-7972-C062884FE54B}"/>
          </ac:spMkLst>
        </pc:spChg>
        <pc:spChg chg="add mod">
          <ac:chgData name="Zhen Gao" userId="753ca5ad-a66a-4072-86ff-fe9bc8c0233d" providerId="ADAL" clId="{D13FCA20-FCA2-3F40-8503-AF89E197B5C6}" dt="2023-09-06T13:09:49.580" v="208" actId="208"/>
          <ac:spMkLst>
            <pc:docMk/>
            <pc:sldMk cId="0" sldId="274"/>
            <ac:spMk id="27" creationId="{CC772FDD-8356-6202-2DB6-D205D987AF16}"/>
          </ac:spMkLst>
        </pc:spChg>
        <pc:picChg chg="add mod">
          <ac:chgData name="Zhen Gao" userId="753ca5ad-a66a-4072-86ff-fe9bc8c0233d" providerId="ADAL" clId="{D13FCA20-FCA2-3F40-8503-AF89E197B5C6}" dt="2023-09-06T13:10:11.316" v="209" actId="1076"/>
          <ac:picMkLst>
            <pc:docMk/>
            <pc:sldMk cId="0" sldId="274"/>
            <ac:picMk id="3" creationId="{F6C6F23C-1C8D-9237-7339-0E1347F99D6C}"/>
          </ac:picMkLst>
        </pc:picChg>
        <pc:picChg chg="del">
          <ac:chgData name="Zhen Gao" userId="753ca5ad-a66a-4072-86ff-fe9bc8c0233d" providerId="ADAL" clId="{D13FCA20-FCA2-3F40-8503-AF89E197B5C6}" dt="2023-09-06T13:00:19.643" v="152" actId="478"/>
          <ac:picMkLst>
            <pc:docMk/>
            <pc:sldMk cId="0" sldId="274"/>
            <ac:picMk id="5123" creationId="{34F65ACD-4A01-2F0E-B601-33CE460E8273}"/>
          </ac:picMkLst>
        </pc:picChg>
      </pc:sldChg>
      <pc:sldChg chg="addSp delSp modSp mod">
        <pc:chgData name="Zhen Gao" userId="753ca5ad-a66a-4072-86ff-fe9bc8c0233d" providerId="ADAL" clId="{D13FCA20-FCA2-3F40-8503-AF89E197B5C6}" dt="2023-09-06T13:35:34.014" v="469" actId="1076"/>
        <pc:sldMkLst>
          <pc:docMk/>
          <pc:sldMk cId="0" sldId="275"/>
        </pc:sldMkLst>
        <pc:spChg chg="mod">
          <ac:chgData name="Zhen Gao" userId="753ca5ad-a66a-4072-86ff-fe9bc8c0233d" providerId="ADAL" clId="{D13FCA20-FCA2-3F40-8503-AF89E197B5C6}" dt="2023-09-06T13:35:34.014" v="469" actId="1076"/>
          <ac:spMkLst>
            <pc:docMk/>
            <pc:sldMk cId="0" sldId="275"/>
            <ac:spMk id="8193" creationId="{F35A6C64-11AC-D88C-B285-C4A10D9B3686}"/>
          </ac:spMkLst>
        </pc:spChg>
        <pc:picChg chg="add mod">
          <ac:chgData name="Zhen Gao" userId="753ca5ad-a66a-4072-86ff-fe9bc8c0233d" providerId="ADAL" clId="{D13FCA20-FCA2-3F40-8503-AF89E197B5C6}" dt="2023-09-06T13:34:03.730" v="407" actId="1076"/>
          <ac:picMkLst>
            <pc:docMk/>
            <pc:sldMk cId="0" sldId="275"/>
            <ac:picMk id="3" creationId="{9DEDF5DE-D319-B199-B782-1EF3273FB3D3}"/>
          </ac:picMkLst>
        </pc:picChg>
        <pc:picChg chg="del">
          <ac:chgData name="Zhen Gao" userId="753ca5ad-a66a-4072-86ff-fe9bc8c0233d" providerId="ADAL" clId="{D13FCA20-FCA2-3F40-8503-AF89E197B5C6}" dt="2023-09-06T13:15:39.740" v="242" actId="478"/>
          <ac:picMkLst>
            <pc:docMk/>
            <pc:sldMk cId="0" sldId="275"/>
            <ac:picMk id="8194" creationId="{C670D4E2-2BC7-C398-E1B0-B9795ED2E865}"/>
          </ac:picMkLst>
        </pc:picChg>
        <pc:picChg chg="mod">
          <ac:chgData name="Zhen Gao" userId="753ca5ad-a66a-4072-86ff-fe9bc8c0233d" providerId="ADAL" clId="{D13FCA20-FCA2-3F40-8503-AF89E197B5C6}" dt="2023-09-06T13:34:10.320" v="409" actId="1076"/>
          <ac:picMkLst>
            <pc:docMk/>
            <pc:sldMk cId="0" sldId="275"/>
            <ac:picMk id="8195" creationId="{0F21001B-469C-A58D-7421-104BB4C8D832}"/>
          </ac:picMkLst>
        </pc:picChg>
      </pc:sldChg>
      <pc:sldChg chg="modSp mod">
        <pc:chgData name="Zhen Gao" userId="753ca5ad-a66a-4072-86ff-fe9bc8c0233d" providerId="ADAL" clId="{D13FCA20-FCA2-3F40-8503-AF89E197B5C6}" dt="2023-09-06T13:36:43.541" v="474" actId="20577"/>
        <pc:sldMkLst>
          <pc:docMk/>
          <pc:sldMk cId="0" sldId="277"/>
        </pc:sldMkLst>
        <pc:spChg chg="mod">
          <ac:chgData name="Zhen Gao" userId="753ca5ad-a66a-4072-86ff-fe9bc8c0233d" providerId="ADAL" clId="{D13FCA20-FCA2-3F40-8503-AF89E197B5C6}" dt="2023-09-06T13:36:43.541" v="474" actId="20577"/>
          <ac:spMkLst>
            <pc:docMk/>
            <pc:sldMk cId="0" sldId="277"/>
            <ac:spMk id="9217" creationId="{708DFEDF-FCE1-FC9B-CABB-1D55C014AD5A}"/>
          </ac:spMkLst>
        </pc:spChg>
      </pc:sldChg>
      <pc:sldChg chg="addSp delSp modSp mod">
        <pc:chgData name="Zhen Gao" userId="753ca5ad-a66a-4072-86ff-fe9bc8c0233d" providerId="ADAL" clId="{D13FCA20-FCA2-3F40-8503-AF89E197B5C6}" dt="2023-09-06T14:28:53.589" v="678" actId="13926"/>
        <pc:sldMkLst>
          <pc:docMk/>
          <pc:sldMk cId="0" sldId="278"/>
        </pc:sldMkLst>
        <pc:spChg chg="add del mod">
          <ac:chgData name="Zhen Gao" userId="753ca5ad-a66a-4072-86ff-fe9bc8c0233d" providerId="ADAL" clId="{D13FCA20-FCA2-3F40-8503-AF89E197B5C6}" dt="2023-09-06T14:25:01.646" v="658"/>
          <ac:spMkLst>
            <pc:docMk/>
            <pc:sldMk cId="0" sldId="278"/>
            <ac:spMk id="4" creationId="{EE91C850-4480-134E-5534-C3253B755CA9}"/>
          </ac:spMkLst>
        </pc:spChg>
        <pc:graphicFrameChg chg="add del mod modGraphic">
          <ac:chgData name="Zhen Gao" userId="753ca5ad-a66a-4072-86ff-fe9bc8c0233d" providerId="ADAL" clId="{D13FCA20-FCA2-3F40-8503-AF89E197B5C6}" dt="2023-09-06T14:26:21.320" v="660" actId="478"/>
          <ac:graphicFrameMkLst>
            <pc:docMk/>
            <pc:sldMk cId="0" sldId="278"/>
            <ac:graphicFrameMk id="3" creationId="{3E62869E-D278-C2FB-0476-4655E4004F95}"/>
          </ac:graphicFrameMkLst>
        </pc:graphicFrameChg>
        <pc:graphicFrameChg chg="add del mod">
          <ac:chgData name="Zhen Gao" userId="753ca5ad-a66a-4072-86ff-fe9bc8c0233d" providerId="ADAL" clId="{D13FCA20-FCA2-3F40-8503-AF89E197B5C6}" dt="2023-09-06T14:27:31.118" v="665" actId="478"/>
          <ac:graphicFrameMkLst>
            <pc:docMk/>
            <pc:sldMk cId="0" sldId="278"/>
            <ac:graphicFrameMk id="5" creationId="{CBCFDA8B-34AF-5E21-673E-6C1BF2673E00}"/>
          </ac:graphicFrameMkLst>
        </pc:graphicFrameChg>
        <pc:graphicFrameChg chg="add mod modGraphic">
          <ac:chgData name="Zhen Gao" userId="753ca5ad-a66a-4072-86ff-fe9bc8c0233d" providerId="ADAL" clId="{D13FCA20-FCA2-3F40-8503-AF89E197B5C6}" dt="2023-09-06T14:27:35.668" v="666" actId="13926"/>
          <ac:graphicFrameMkLst>
            <pc:docMk/>
            <pc:sldMk cId="0" sldId="278"/>
            <ac:graphicFrameMk id="6" creationId="{82573A9D-8AD7-158A-2562-F67718AD0031}"/>
          </ac:graphicFrameMkLst>
        </pc:graphicFrameChg>
        <pc:graphicFrameChg chg="add mod modGraphic">
          <ac:chgData name="Zhen Gao" userId="753ca5ad-a66a-4072-86ff-fe9bc8c0233d" providerId="ADAL" clId="{D13FCA20-FCA2-3F40-8503-AF89E197B5C6}" dt="2023-09-06T14:28:53.589" v="678" actId="13926"/>
          <ac:graphicFrameMkLst>
            <pc:docMk/>
            <pc:sldMk cId="0" sldId="278"/>
            <ac:graphicFrameMk id="7" creationId="{525D421D-1F33-1E7C-EB34-FA4E2398A8E2}"/>
          </ac:graphicFrameMkLst>
        </pc:graphicFrameChg>
      </pc:sldChg>
      <pc:sldChg chg="addSp delSp modSp mod">
        <pc:chgData name="Zhen Gao" userId="753ca5ad-a66a-4072-86ff-fe9bc8c0233d" providerId="ADAL" clId="{D13FCA20-FCA2-3F40-8503-AF89E197B5C6}" dt="2023-09-06T13:13:55.793" v="240" actId="20577"/>
        <pc:sldMkLst>
          <pc:docMk/>
          <pc:sldMk cId="0" sldId="281"/>
        </pc:sldMkLst>
        <pc:spChg chg="add mod">
          <ac:chgData name="Zhen Gao" userId="753ca5ad-a66a-4072-86ff-fe9bc8c0233d" providerId="ADAL" clId="{D13FCA20-FCA2-3F40-8503-AF89E197B5C6}" dt="2023-09-06T13:12:53.880" v="218"/>
          <ac:spMkLst>
            <pc:docMk/>
            <pc:sldMk cId="0" sldId="281"/>
            <ac:spMk id="4" creationId="{4451208E-3B12-E001-4F1F-C41CDF366E83}"/>
          </ac:spMkLst>
        </pc:spChg>
        <pc:spChg chg="add mod">
          <ac:chgData name="Zhen Gao" userId="753ca5ad-a66a-4072-86ff-fe9bc8c0233d" providerId="ADAL" clId="{D13FCA20-FCA2-3F40-8503-AF89E197B5C6}" dt="2023-09-06T13:12:53.880" v="218"/>
          <ac:spMkLst>
            <pc:docMk/>
            <pc:sldMk cId="0" sldId="281"/>
            <ac:spMk id="5" creationId="{6F98CD15-C250-31E2-C6ED-555361634B9D}"/>
          </ac:spMkLst>
        </pc:spChg>
        <pc:spChg chg="add mod">
          <ac:chgData name="Zhen Gao" userId="753ca5ad-a66a-4072-86ff-fe9bc8c0233d" providerId="ADAL" clId="{D13FCA20-FCA2-3F40-8503-AF89E197B5C6}" dt="2023-09-06T13:12:53.880" v="218"/>
          <ac:spMkLst>
            <pc:docMk/>
            <pc:sldMk cId="0" sldId="281"/>
            <ac:spMk id="6" creationId="{37DF7A95-9C3F-120D-34BD-83252EDD3415}"/>
          </ac:spMkLst>
        </pc:spChg>
        <pc:spChg chg="add mod">
          <ac:chgData name="Zhen Gao" userId="753ca5ad-a66a-4072-86ff-fe9bc8c0233d" providerId="ADAL" clId="{D13FCA20-FCA2-3F40-8503-AF89E197B5C6}" dt="2023-09-06T13:12:53.880" v="218"/>
          <ac:spMkLst>
            <pc:docMk/>
            <pc:sldMk cId="0" sldId="281"/>
            <ac:spMk id="7" creationId="{6AD76EE8-54FC-AC7E-77FD-AAF60B182EA1}"/>
          </ac:spMkLst>
        </pc:spChg>
        <pc:spChg chg="add mod">
          <ac:chgData name="Zhen Gao" userId="753ca5ad-a66a-4072-86ff-fe9bc8c0233d" providerId="ADAL" clId="{D13FCA20-FCA2-3F40-8503-AF89E197B5C6}" dt="2023-09-06T13:12:53.880" v="218"/>
          <ac:spMkLst>
            <pc:docMk/>
            <pc:sldMk cId="0" sldId="281"/>
            <ac:spMk id="8" creationId="{AD9F0195-A387-3FC0-0ECF-EB109667706A}"/>
          </ac:spMkLst>
        </pc:spChg>
        <pc:spChg chg="add mod">
          <ac:chgData name="Zhen Gao" userId="753ca5ad-a66a-4072-86ff-fe9bc8c0233d" providerId="ADAL" clId="{D13FCA20-FCA2-3F40-8503-AF89E197B5C6}" dt="2023-09-06T13:12:53.880" v="218"/>
          <ac:spMkLst>
            <pc:docMk/>
            <pc:sldMk cId="0" sldId="281"/>
            <ac:spMk id="9" creationId="{EE618207-99E8-FD80-E1D1-32A9EC2DF1DB}"/>
          </ac:spMkLst>
        </pc:spChg>
        <pc:spChg chg="add mod">
          <ac:chgData name="Zhen Gao" userId="753ca5ad-a66a-4072-86ff-fe9bc8c0233d" providerId="ADAL" clId="{D13FCA20-FCA2-3F40-8503-AF89E197B5C6}" dt="2023-09-06T13:12:53.880" v="218"/>
          <ac:spMkLst>
            <pc:docMk/>
            <pc:sldMk cId="0" sldId="281"/>
            <ac:spMk id="10" creationId="{417E2E60-0C56-74C5-BA28-DC11CE867CC4}"/>
          </ac:spMkLst>
        </pc:spChg>
        <pc:spChg chg="del">
          <ac:chgData name="Zhen Gao" userId="753ca5ad-a66a-4072-86ff-fe9bc8c0233d" providerId="ADAL" clId="{D13FCA20-FCA2-3F40-8503-AF89E197B5C6}" dt="2023-09-06T13:12:01.015" v="211" actId="478"/>
          <ac:spMkLst>
            <pc:docMk/>
            <pc:sldMk cId="0" sldId="281"/>
            <ac:spMk id="35" creationId="{CE6D2564-3588-8A12-BA56-CD63888C0280}"/>
          </ac:spMkLst>
        </pc:spChg>
        <pc:spChg chg="del">
          <ac:chgData name="Zhen Gao" userId="753ca5ad-a66a-4072-86ff-fe9bc8c0233d" providerId="ADAL" clId="{D13FCA20-FCA2-3F40-8503-AF89E197B5C6}" dt="2023-09-06T13:12:01.015" v="211" actId="478"/>
          <ac:spMkLst>
            <pc:docMk/>
            <pc:sldMk cId="0" sldId="281"/>
            <ac:spMk id="37" creationId="{D9BDE46A-6C24-CFBF-CBAB-4949FEDF400A}"/>
          </ac:spMkLst>
        </pc:spChg>
        <pc:spChg chg="del">
          <ac:chgData name="Zhen Gao" userId="753ca5ad-a66a-4072-86ff-fe9bc8c0233d" providerId="ADAL" clId="{D13FCA20-FCA2-3F40-8503-AF89E197B5C6}" dt="2023-09-06T13:12:01.015" v="211" actId="478"/>
          <ac:spMkLst>
            <pc:docMk/>
            <pc:sldMk cId="0" sldId="281"/>
            <ac:spMk id="38" creationId="{ACAF5AD7-E066-F895-DE62-A4197B807B5D}"/>
          </ac:spMkLst>
        </pc:spChg>
        <pc:spChg chg="del">
          <ac:chgData name="Zhen Gao" userId="753ca5ad-a66a-4072-86ff-fe9bc8c0233d" providerId="ADAL" clId="{D13FCA20-FCA2-3F40-8503-AF89E197B5C6}" dt="2023-09-06T13:12:01.015" v="211" actId="478"/>
          <ac:spMkLst>
            <pc:docMk/>
            <pc:sldMk cId="0" sldId="281"/>
            <ac:spMk id="41" creationId="{B1AAE8AF-7EE6-573E-BE9D-57A19F317056}"/>
          </ac:spMkLst>
        </pc:spChg>
        <pc:spChg chg="del">
          <ac:chgData name="Zhen Gao" userId="753ca5ad-a66a-4072-86ff-fe9bc8c0233d" providerId="ADAL" clId="{D13FCA20-FCA2-3F40-8503-AF89E197B5C6}" dt="2023-09-06T13:12:01.015" v="211" actId="478"/>
          <ac:spMkLst>
            <pc:docMk/>
            <pc:sldMk cId="0" sldId="281"/>
            <ac:spMk id="43" creationId="{8062CF28-C9C3-FA44-F40B-C0047E1A5146}"/>
          </ac:spMkLst>
        </pc:spChg>
        <pc:spChg chg="del">
          <ac:chgData name="Zhen Gao" userId="753ca5ad-a66a-4072-86ff-fe9bc8c0233d" providerId="ADAL" clId="{D13FCA20-FCA2-3F40-8503-AF89E197B5C6}" dt="2023-09-06T13:12:01.015" v="211" actId="478"/>
          <ac:spMkLst>
            <pc:docMk/>
            <pc:sldMk cId="0" sldId="281"/>
            <ac:spMk id="44" creationId="{63E6FB6F-9CB7-BDF3-064F-989201020FE0}"/>
          </ac:spMkLst>
        </pc:spChg>
        <pc:spChg chg="del">
          <ac:chgData name="Zhen Gao" userId="753ca5ad-a66a-4072-86ff-fe9bc8c0233d" providerId="ADAL" clId="{D13FCA20-FCA2-3F40-8503-AF89E197B5C6}" dt="2023-09-06T13:12:01.015" v="211" actId="478"/>
          <ac:spMkLst>
            <pc:docMk/>
            <pc:sldMk cId="0" sldId="281"/>
            <ac:spMk id="45" creationId="{6C93891C-CBA7-42A1-38F3-983CF4236700}"/>
          </ac:spMkLst>
        </pc:spChg>
        <pc:spChg chg="del">
          <ac:chgData name="Zhen Gao" userId="753ca5ad-a66a-4072-86ff-fe9bc8c0233d" providerId="ADAL" clId="{D13FCA20-FCA2-3F40-8503-AF89E197B5C6}" dt="2023-09-06T13:12:01.015" v="211" actId="478"/>
          <ac:spMkLst>
            <pc:docMk/>
            <pc:sldMk cId="0" sldId="281"/>
            <ac:spMk id="46" creationId="{F2FE907E-B9CC-CA2A-2C84-C62BC4EB4FFF}"/>
          </ac:spMkLst>
        </pc:spChg>
        <pc:spChg chg="mod">
          <ac:chgData name="Zhen Gao" userId="753ca5ad-a66a-4072-86ff-fe9bc8c0233d" providerId="ADAL" clId="{D13FCA20-FCA2-3F40-8503-AF89E197B5C6}" dt="2023-09-06T13:13:55.793" v="240" actId="20577"/>
          <ac:spMkLst>
            <pc:docMk/>
            <pc:sldMk cId="0" sldId="281"/>
            <ac:spMk id="6145" creationId="{44D6EF7D-492F-EE2E-C4C7-70321D0565A4}"/>
          </ac:spMkLst>
        </pc:spChg>
        <pc:picChg chg="add mod">
          <ac:chgData name="Zhen Gao" userId="753ca5ad-a66a-4072-86ff-fe9bc8c0233d" providerId="ADAL" clId="{D13FCA20-FCA2-3F40-8503-AF89E197B5C6}" dt="2023-09-06T13:13:14.858" v="220" actId="14100"/>
          <ac:picMkLst>
            <pc:docMk/>
            <pc:sldMk cId="0" sldId="281"/>
            <ac:picMk id="3" creationId="{BF543BA4-EA9B-A119-76D3-5ECA76689073}"/>
          </ac:picMkLst>
        </pc:picChg>
        <pc:picChg chg="del">
          <ac:chgData name="Zhen Gao" userId="753ca5ad-a66a-4072-86ff-fe9bc8c0233d" providerId="ADAL" clId="{D13FCA20-FCA2-3F40-8503-AF89E197B5C6}" dt="2023-09-06T13:11:56.175" v="210" actId="478"/>
          <ac:picMkLst>
            <pc:docMk/>
            <pc:sldMk cId="0" sldId="281"/>
            <ac:picMk id="6147" creationId="{35059CEC-36BE-717A-7487-88E4B4DB72B8}"/>
          </ac:picMkLst>
        </pc:picChg>
      </pc:sldChg>
      <pc:sldChg chg="addSp delSp modSp mod">
        <pc:chgData name="Zhen Gao" userId="753ca5ad-a66a-4072-86ff-fe9bc8c0233d" providerId="ADAL" clId="{D13FCA20-FCA2-3F40-8503-AF89E197B5C6}" dt="2023-09-06T13:33:44.916" v="404" actId="313"/>
        <pc:sldMkLst>
          <pc:docMk/>
          <pc:sldMk cId="0" sldId="282"/>
        </pc:sldMkLst>
        <pc:spChg chg="add mod">
          <ac:chgData name="Zhen Gao" userId="753ca5ad-a66a-4072-86ff-fe9bc8c0233d" providerId="ADAL" clId="{D13FCA20-FCA2-3F40-8503-AF89E197B5C6}" dt="2023-09-06T13:26:58.692" v="249"/>
          <ac:spMkLst>
            <pc:docMk/>
            <pc:sldMk cId="0" sldId="282"/>
            <ac:spMk id="4" creationId="{4625B19A-6445-47F3-62DD-D18A5FC91E33}"/>
          </ac:spMkLst>
        </pc:spChg>
        <pc:spChg chg="add mod">
          <ac:chgData name="Zhen Gao" userId="753ca5ad-a66a-4072-86ff-fe9bc8c0233d" providerId="ADAL" clId="{D13FCA20-FCA2-3F40-8503-AF89E197B5C6}" dt="2023-09-06T13:26:58.692" v="249"/>
          <ac:spMkLst>
            <pc:docMk/>
            <pc:sldMk cId="0" sldId="282"/>
            <ac:spMk id="5" creationId="{31E35850-9F5C-6EC7-AE6E-DEDB1741101C}"/>
          </ac:spMkLst>
        </pc:spChg>
        <pc:spChg chg="add mod">
          <ac:chgData name="Zhen Gao" userId="753ca5ad-a66a-4072-86ff-fe9bc8c0233d" providerId="ADAL" clId="{D13FCA20-FCA2-3F40-8503-AF89E197B5C6}" dt="2023-09-06T13:26:58.692" v="249"/>
          <ac:spMkLst>
            <pc:docMk/>
            <pc:sldMk cId="0" sldId="282"/>
            <ac:spMk id="6" creationId="{BDA8D1E0-A80E-92F9-EC49-B8E98AF80044}"/>
          </ac:spMkLst>
        </pc:spChg>
        <pc:spChg chg="add mod">
          <ac:chgData name="Zhen Gao" userId="753ca5ad-a66a-4072-86ff-fe9bc8c0233d" providerId="ADAL" clId="{D13FCA20-FCA2-3F40-8503-AF89E197B5C6}" dt="2023-09-06T13:26:58.692" v="249"/>
          <ac:spMkLst>
            <pc:docMk/>
            <pc:sldMk cId="0" sldId="282"/>
            <ac:spMk id="7" creationId="{2C4BDA91-5513-F52E-9D76-7104AC8F44C7}"/>
          </ac:spMkLst>
        </pc:spChg>
        <pc:spChg chg="add mod">
          <ac:chgData name="Zhen Gao" userId="753ca5ad-a66a-4072-86ff-fe9bc8c0233d" providerId="ADAL" clId="{D13FCA20-FCA2-3F40-8503-AF89E197B5C6}" dt="2023-09-06T13:28:37.104" v="339" actId="1076"/>
          <ac:spMkLst>
            <pc:docMk/>
            <pc:sldMk cId="0" sldId="282"/>
            <ac:spMk id="8" creationId="{0298AD55-07DE-2C01-8A3B-28A1938DC13F}"/>
          </ac:spMkLst>
        </pc:spChg>
        <pc:spChg chg="add mod">
          <ac:chgData name="Zhen Gao" userId="753ca5ad-a66a-4072-86ff-fe9bc8c0233d" providerId="ADAL" clId="{D13FCA20-FCA2-3F40-8503-AF89E197B5C6}" dt="2023-09-06T13:31:59.402" v="355" actId="1076"/>
          <ac:spMkLst>
            <pc:docMk/>
            <pc:sldMk cId="0" sldId="282"/>
            <ac:spMk id="9" creationId="{5010C272-DD2F-DB4D-F6E8-58B1DCF405C5}"/>
          </ac:spMkLst>
        </pc:spChg>
        <pc:spChg chg="add mod">
          <ac:chgData name="Zhen Gao" userId="753ca5ad-a66a-4072-86ff-fe9bc8c0233d" providerId="ADAL" clId="{D13FCA20-FCA2-3F40-8503-AF89E197B5C6}" dt="2023-09-06T13:31:53.439" v="354" actId="1076"/>
          <ac:spMkLst>
            <pc:docMk/>
            <pc:sldMk cId="0" sldId="282"/>
            <ac:spMk id="10" creationId="{A17D9E39-9C99-0837-85F8-968480432735}"/>
          </ac:spMkLst>
        </pc:spChg>
        <pc:spChg chg="add mod">
          <ac:chgData name="Zhen Gao" userId="753ca5ad-a66a-4072-86ff-fe9bc8c0233d" providerId="ADAL" clId="{D13FCA20-FCA2-3F40-8503-AF89E197B5C6}" dt="2023-09-06T13:31:19.374" v="353" actId="1076"/>
          <ac:spMkLst>
            <pc:docMk/>
            <pc:sldMk cId="0" sldId="282"/>
            <ac:spMk id="11" creationId="{0EC0B447-34CB-F741-95E4-2CCF0AE0617C}"/>
          </ac:spMkLst>
        </pc:spChg>
        <pc:spChg chg="add mod">
          <ac:chgData name="Zhen Gao" userId="753ca5ad-a66a-4072-86ff-fe9bc8c0233d" providerId="ADAL" clId="{D13FCA20-FCA2-3F40-8503-AF89E197B5C6}" dt="2023-09-06T13:28:37.104" v="339" actId="1076"/>
          <ac:spMkLst>
            <pc:docMk/>
            <pc:sldMk cId="0" sldId="282"/>
            <ac:spMk id="12" creationId="{D046C56F-E2C8-D19D-421A-C5246AFE3B1F}"/>
          </ac:spMkLst>
        </pc:spChg>
        <pc:spChg chg="add mod">
          <ac:chgData name="Zhen Gao" userId="753ca5ad-a66a-4072-86ff-fe9bc8c0233d" providerId="ADAL" clId="{D13FCA20-FCA2-3F40-8503-AF89E197B5C6}" dt="2023-09-06T13:28:37.104" v="339" actId="1076"/>
          <ac:spMkLst>
            <pc:docMk/>
            <pc:sldMk cId="0" sldId="282"/>
            <ac:spMk id="13" creationId="{EE702B3A-BD0B-CF7B-7A23-9D17D5982A81}"/>
          </ac:spMkLst>
        </pc:spChg>
        <pc:spChg chg="add mod">
          <ac:chgData name="Zhen Gao" userId="753ca5ad-a66a-4072-86ff-fe9bc8c0233d" providerId="ADAL" clId="{D13FCA20-FCA2-3F40-8503-AF89E197B5C6}" dt="2023-09-06T13:31:15.100" v="352" actId="1076"/>
          <ac:spMkLst>
            <pc:docMk/>
            <pc:sldMk cId="0" sldId="282"/>
            <ac:spMk id="14" creationId="{D88809EE-485C-674B-2103-A1A96DDB6714}"/>
          </ac:spMkLst>
        </pc:spChg>
        <pc:spChg chg="add mod">
          <ac:chgData name="Zhen Gao" userId="753ca5ad-a66a-4072-86ff-fe9bc8c0233d" providerId="ADAL" clId="{D13FCA20-FCA2-3F40-8503-AF89E197B5C6}" dt="2023-09-06T13:29:19.404" v="342" actId="1076"/>
          <ac:spMkLst>
            <pc:docMk/>
            <pc:sldMk cId="0" sldId="282"/>
            <ac:spMk id="15" creationId="{26052AED-5425-9AB9-6D9C-ED4BBEAFDC76}"/>
          </ac:spMkLst>
        </pc:spChg>
        <pc:spChg chg="mod">
          <ac:chgData name="Zhen Gao" userId="753ca5ad-a66a-4072-86ff-fe9bc8c0233d" providerId="ADAL" clId="{D13FCA20-FCA2-3F40-8503-AF89E197B5C6}" dt="2023-09-06T13:33:44.916" v="404" actId="313"/>
          <ac:spMkLst>
            <pc:docMk/>
            <pc:sldMk cId="0" sldId="282"/>
            <ac:spMk id="7169" creationId="{5B8096D7-2558-ABC5-4AC4-1C305286E960}"/>
          </ac:spMkLst>
        </pc:spChg>
        <pc:picChg chg="add mod">
          <ac:chgData name="Zhen Gao" userId="753ca5ad-a66a-4072-86ff-fe9bc8c0233d" providerId="ADAL" clId="{D13FCA20-FCA2-3F40-8503-AF89E197B5C6}" dt="2023-09-06T13:32:19.247" v="356" actId="14100"/>
          <ac:picMkLst>
            <pc:docMk/>
            <pc:sldMk cId="0" sldId="282"/>
            <ac:picMk id="3" creationId="{506520D9-D352-F030-613F-539C64918EDD}"/>
          </ac:picMkLst>
        </pc:picChg>
        <pc:picChg chg="mod">
          <ac:chgData name="Zhen Gao" userId="753ca5ad-a66a-4072-86ff-fe9bc8c0233d" providerId="ADAL" clId="{D13FCA20-FCA2-3F40-8503-AF89E197B5C6}" dt="2023-09-06T13:27:04.322" v="250" actId="1076"/>
          <ac:picMkLst>
            <pc:docMk/>
            <pc:sldMk cId="0" sldId="282"/>
            <ac:picMk id="7170" creationId="{9C423EF4-1718-81F8-AE62-B9B16F490126}"/>
          </ac:picMkLst>
        </pc:picChg>
        <pc:picChg chg="del">
          <ac:chgData name="Zhen Gao" userId="753ca5ad-a66a-4072-86ff-fe9bc8c0233d" providerId="ADAL" clId="{D13FCA20-FCA2-3F40-8503-AF89E197B5C6}" dt="2023-09-06T13:15:34.443" v="241" actId="478"/>
          <ac:picMkLst>
            <pc:docMk/>
            <pc:sldMk cId="0" sldId="282"/>
            <ac:picMk id="7171" creationId="{EB42DBD8-EAAF-59C6-94F3-BE2303C0F355}"/>
          </ac:picMkLst>
        </pc:picChg>
      </pc:sldChg>
      <pc:sldChg chg="addSp delSp modSp mod">
        <pc:chgData name="Zhen Gao" userId="753ca5ad-a66a-4072-86ff-fe9bc8c0233d" providerId="ADAL" clId="{D13FCA20-FCA2-3F40-8503-AF89E197B5C6}" dt="2023-09-06T14:29:52.351" v="684" actId="478"/>
        <pc:sldMkLst>
          <pc:docMk/>
          <pc:sldMk cId="0" sldId="283"/>
        </pc:sldMkLst>
        <pc:spChg chg="del mod">
          <ac:chgData name="Zhen Gao" userId="753ca5ad-a66a-4072-86ff-fe9bc8c0233d" providerId="ADAL" clId="{D13FCA20-FCA2-3F40-8503-AF89E197B5C6}" dt="2023-09-06T14:29:52.351" v="684" actId="478"/>
          <ac:spMkLst>
            <pc:docMk/>
            <pc:sldMk cId="0" sldId="283"/>
            <ac:spMk id="11265" creationId="{EE3D3FBF-C02E-3069-DE6C-32ACE2AC031B}"/>
          </ac:spMkLst>
        </pc:spChg>
        <pc:graphicFrameChg chg="add mod modGraphic">
          <ac:chgData name="Zhen Gao" userId="753ca5ad-a66a-4072-86ff-fe9bc8c0233d" providerId="ADAL" clId="{D13FCA20-FCA2-3F40-8503-AF89E197B5C6}" dt="2023-09-06T14:29:49.284" v="683" actId="1076"/>
          <ac:graphicFrameMkLst>
            <pc:docMk/>
            <pc:sldMk cId="0" sldId="283"/>
            <ac:graphicFrameMk id="2" creationId="{A60DB941-914B-2923-B43F-6BCF57CCE336}"/>
          </ac:graphicFrameMkLst>
        </pc:graphicFrameChg>
      </pc:sldChg>
      <pc:sldChg chg="modSp mod">
        <pc:chgData name="Zhen Gao" userId="753ca5ad-a66a-4072-86ff-fe9bc8c0233d" providerId="ADAL" clId="{D13FCA20-FCA2-3F40-8503-AF89E197B5C6}" dt="2023-09-06T12:53:47.142" v="125" actId="20577"/>
        <pc:sldMkLst>
          <pc:docMk/>
          <pc:sldMk cId="2423095655" sldId="3343"/>
        </pc:sldMkLst>
        <pc:spChg chg="mod">
          <ac:chgData name="Zhen Gao" userId="753ca5ad-a66a-4072-86ff-fe9bc8c0233d" providerId="ADAL" clId="{D13FCA20-FCA2-3F40-8503-AF89E197B5C6}" dt="2023-09-06T12:53:24.560" v="77" actId="20577"/>
          <ac:spMkLst>
            <pc:docMk/>
            <pc:sldMk cId="2423095655" sldId="3343"/>
            <ac:spMk id="2" creationId="{CF1C6CDA-96EF-4992-9AF2-6F15731BF403}"/>
          </ac:spMkLst>
        </pc:spChg>
        <pc:spChg chg="mod">
          <ac:chgData name="Zhen Gao" userId="753ca5ad-a66a-4072-86ff-fe9bc8c0233d" providerId="ADAL" clId="{D13FCA20-FCA2-3F40-8503-AF89E197B5C6}" dt="2023-09-06T12:53:47.142" v="125" actId="20577"/>
          <ac:spMkLst>
            <pc:docMk/>
            <pc:sldMk cId="2423095655" sldId="3343"/>
            <ac:spMk id="7" creationId="{7B49B9A8-7362-4FFB-9503-B3F42D92B70A}"/>
          </ac:spMkLst>
        </pc:spChg>
      </pc:sldChg>
      <pc:sldChg chg="add">
        <pc:chgData name="Zhen Gao" userId="753ca5ad-a66a-4072-86ff-fe9bc8c0233d" providerId="ADAL" clId="{D13FCA20-FCA2-3F40-8503-AF89E197B5C6}" dt="2023-09-06T12:46:12.198" v="0"/>
        <pc:sldMkLst>
          <pc:docMk/>
          <pc:sldMk cId="3011552331" sldId="3347"/>
        </pc:sldMkLst>
      </pc:sldChg>
      <pc:sldChg chg="add">
        <pc:chgData name="Zhen Gao" userId="753ca5ad-a66a-4072-86ff-fe9bc8c0233d" providerId="ADAL" clId="{D13FCA20-FCA2-3F40-8503-AF89E197B5C6}" dt="2023-09-06T12:46:12.198" v="0"/>
        <pc:sldMkLst>
          <pc:docMk/>
          <pc:sldMk cId="4214775109" sldId="3348"/>
        </pc:sldMkLst>
      </pc:sldChg>
      <pc:sldChg chg="add">
        <pc:chgData name="Zhen Gao" userId="753ca5ad-a66a-4072-86ff-fe9bc8c0233d" providerId="ADAL" clId="{D13FCA20-FCA2-3F40-8503-AF89E197B5C6}" dt="2023-09-06T12:46:12.198" v="0"/>
        <pc:sldMkLst>
          <pc:docMk/>
          <pc:sldMk cId="1708289675" sldId="3349"/>
        </pc:sldMkLst>
      </pc:sldChg>
      <pc:sldChg chg="add">
        <pc:chgData name="Zhen Gao" userId="753ca5ad-a66a-4072-86ff-fe9bc8c0233d" providerId="ADAL" clId="{D13FCA20-FCA2-3F40-8503-AF89E197B5C6}" dt="2023-09-06T12:46:12.198" v="0"/>
        <pc:sldMkLst>
          <pc:docMk/>
          <pc:sldMk cId="843700923" sldId="3350"/>
        </pc:sldMkLst>
      </pc:sldChg>
      <pc:sldChg chg="add">
        <pc:chgData name="Zhen Gao" userId="753ca5ad-a66a-4072-86ff-fe9bc8c0233d" providerId="ADAL" clId="{D13FCA20-FCA2-3F40-8503-AF89E197B5C6}" dt="2023-09-06T12:46:12.198" v="0"/>
        <pc:sldMkLst>
          <pc:docMk/>
          <pc:sldMk cId="846874801" sldId="3351"/>
        </pc:sldMkLst>
      </pc:sldChg>
      <pc:sldChg chg="add">
        <pc:chgData name="Zhen Gao" userId="753ca5ad-a66a-4072-86ff-fe9bc8c0233d" providerId="ADAL" clId="{D13FCA20-FCA2-3F40-8503-AF89E197B5C6}" dt="2023-09-06T12:46:12.198" v="0"/>
        <pc:sldMkLst>
          <pc:docMk/>
          <pc:sldMk cId="2600932099" sldId="3352"/>
        </pc:sldMkLst>
      </pc:sldChg>
      <pc:sldChg chg="add">
        <pc:chgData name="Zhen Gao" userId="753ca5ad-a66a-4072-86ff-fe9bc8c0233d" providerId="ADAL" clId="{D13FCA20-FCA2-3F40-8503-AF89E197B5C6}" dt="2023-09-06T12:46:12.198" v="0"/>
        <pc:sldMkLst>
          <pc:docMk/>
          <pc:sldMk cId="3327581957" sldId="3353"/>
        </pc:sldMkLst>
      </pc:sldChg>
      <pc:sldChg chg="addSp delSp modSp add mod">
        <pc:chgData name="Zhen Gao" userId="753ca5ad-a66a-4072-86ff-fe9bc8c0233d" providerId="ADAL" clId="{D13FCA20-FCA2-3F40-8503-AF89E197B5C6}" dt="2023-09-06T14:20:17.628" v="625" actId="1076"/>
        <pc:sldMkLst>
          <pc:docMk/>
          <pc:sldMk cId="2745639511" sldId="3354"/>
        </pc:sldMkLst>
        <pc:spChg chg="mod">
          <ac:chgData name="Zhen Gao" userId="753ca5ad-a66a-4072-86ff-fe9bc8c0233d" providerId="ADAL" clId="{D13FCA20-FCA2-3F40-8503-AF89E197B5C6}" dt="2023-09-06T14:20:14.832" v="624" actId="20577"/>
          <ac:spMkLst>
            <pc:docMk/>
            <pc:sldMk cId="2745639511" sldId="3354"/>
            <ac:spMk id="2049" creationId="{C956872E-C5F6-0BDB-03A7-E4EA50BFF4E2}"/>
          </ac:spMkLst>
        </pc:spChg>
        <pc:picChg chg="add mod">
          <ac:chgData name="Zhen Gao" userId="753ca5ad-a66a-4072-86ff-fe9bc8c0233d" providerId="ADAL" clId="{D13FCA20-FCA2-3F40-8503-AF89E197B5C6}" dt="2023-09-06T14:20:17.628" v="625" actId="1076"/>
          <ac:picMkLst>
            <pc:docMk/>
            <pc:sldMk cId="2745639511" sldId="3354"/>
            <ac:picMk id="3" creationId="{72EF2500-E853-457B-DAA0-815F36FEFF85}"/>
          </ac:picMkLst>
        </pc:picChg>
        <pc:picChg chg="del">
          <ac:chgData name="Zhen Gao" userId="753ca5ad-a66a-4072-86ff-fe9bc8c0233d" providerId="ADAL" clId="{D13FCA20-FCA2-3F40-8503-AF89E197B5C6}" dt="2023-09-06T14:06:03.150" v="542" actId="478"/>
          <ac:picMkLst>
            <pc:docMk/>
            <pc:sldMk cId="2745639511" sldId="3354"/>
            <ac:picMk id="2050" creationId="{2E57EF3B-8A60-CE9B-AA12-567723203A91}"/>
          </ac:picMkLst>
        </pc:picChg>
        <pc:picChg chg="del">
          <ac:chgData name="Zhen Gao" userId="753ca5ad-a66a-4072-86ff-fe9bc8c0233d" providerId="ADAL" clId="{D13FCA20-FCA2-3F40-8503-AF89E197B5C6}" dt="2023-09-06T13:37:39.920" v="488" actId="478"/>
          <ac:picMkLst>
            <pc:docMk/>
            <pc:sldMk cId="2745639511" sldId="3354"/>
            <ac:picMk id="2051" creationId="{FBB8B735-EA68-01B0-FAEA-5567287BE280}"/>
          </ac:picMkLst>
        </pc:picChg>
      </pc:sldChg>
      <pc:sldChg chg="addSp delSp modSp add mod">
        <pc:chgData name="Zhen Gao" userId="753ca5ad-a66a-4072-86ff-fe9bc8c0233d" providerId="ADAL" clId="{D13FCA20-FCA2-3F40-8503-AF89E197B5C6}" dt="2023-09-06T14:10:12.192" v="567" actId="20577"/>
        <pc:sldMkLst>
          <pc:docMk/>
          <pc:sldMk cId="95550526" sldId="3355"/>
        </pc:sldMkLst>
        <pc:spChg chg="add del mod">
          <ac:chgData name="Zhen Gao" userId="753ca5ad-a66a-4072-86ff-fe9bc8c0233d" providerId="ADAL" clId="{D13FCA20-FCA2-3F40-8503-AF89E197B5C6}" dt="2023-09-06T14:04:22.617" v="530" actId="478"/>
          <ac:spMkLst>
            <pc:docMk/>
            <pc:sldMk cId="95550526" sldId="3355"/>
            <ac:spMk id="6" creationId="{33E9B777-3B31-7DAE-1136-B62F9BE441B0}"/>
          </ac:spMkLst>
        </pc:spChg>
        <pc:spChg chg="del">
          <ac:chgData name="Zhen Gao" userId="753ca5ad-a66a-4072-86ff-fe9bc8c0233d" providerId="ADAL" clId="{D13FCA20-FCA2-3F40-8503-AF89E197B5C6}" dt="2023-09-06T13:42:26.414" v="493" actId="478"/>
          <ac:spMkLst>
            <pc:docMk/>
            <pc:sldMk cId="95550526" sldId="3355"/>
            <ac:spMk id="7" creationId="{5A070128-8200-3AF0-DBC1-46AE67A8DA72}"/>
          </ac:spMkLst>
        </pc:spChg>
        <pc:spChg chg="add del mod">
          <ac:chgData name="Zhen Gao" userId="753ca5ad-a66a-4072-86ff-fe9bc8c0233d" providerId="ADAL" clId="{D13FCA20-FCA2-3F40-8503-AF89E197B5C6}" dt="2023-09-06T14:04:25.793" v="531" actId="478"/>
          <ac:spMkLst>
            <pc:docMk/>
            <pc:sldMk cId="95550526" sldId="3355"/>
            <ac:spMk id="8" creationId="{37EFB710-7664-BFA5-BCC7-460E32ED2AF8}"/>
          </ac:spMkLst>
        </pc:spChg>
        <pc:spChg chg="del">
          <ac:chgData name="Zhen Gao" userId="753ca5ad-a66a-4072-86ff-fe9bc8c0233d" providerId="ADAL" clId="{D13FCA20-FCA2-3F40-8503-AF89E197B5C6}" dt="2023-09-06T13:42:26.414" v="493" actId="478"/>
          <ac:spMkLst>
            <pc:docMk/>
            <pc:sldMk cId="95550526" sldId="3355"/>
            <ac:spMk id="9" creationId="{C9903573-D983-9F45-F84C-CEDCDE18051B}"/>
          </ac:spMkLst>
        </pc:spChg>
        <pc:spChg chg="del">
          <ac:chgData name="Zhen Gao" userId="753ca5ad-a66a-4072-86ff-fe9bc8c0233d" providerId="ADAL" clId="{D13FCA20-FCA2-3F40-8503-AF89E197B5C6}" dt="2023-09-06T13:42:26.414" v="493" actId="478"/>
          <ac:spMkLst>
            <pc:docMk/>
            <pc:sldMk cId="95550526" sldId="3355"/>
            <ac:spMk id="10" creationId="{6707573C-78EE-BDF0-1168-264F5B1004FF}"/>
          </ac:spMkLst>
        </pc:spChg>
        <pc:spChg chg="add del mod">
          <ac:chgData name="Zhen Gao" userId="753ca5ad-a66a-4072-86ff-fe9bc8c0233d" providerId="ADAL" clId="{D13FCA20-FCA2-3F40-8503-AF89E197B5C6}" dt="2023-09-06T14:04:25.793" v="531" actId="478"/>
          <ac:spMkLst>
            <pc:docMk/>
            <pc:sldMk cId="95550526" sldId="3355"/>
            <ac:spMk id="11" creationId="{8590C981-7D96-EA66-3327-D758AE156E06}"/>
          </ac:spMkLst>
        </pc:spChg>
        <pc:spChg chg="del">
          <ac:chgData name="Zhen Gao" userId="753ca5ad-a66a-4072-86ff-fe9bc8c0233d" providerId="ADAL" clId="{D13FCA20-FCA2-3F40-8503-AF89E197B5C6}" dt="2023-09-06T14:02:49.516" v="527" actId="478"/>
          <ac:spMkLst>
            <pc:docMk/>
            <pc:sldMk cId="95550526" sldId="3355"/>
            <ac:spMk id="12" creationId="{64A6D194-D76D-8C1B-1541-EAB4B6A7CF94}"/>
          </ac:spMkLst>
        </pc:spChg>
        <pc:spChg chg="del">
          <ac:chgData name="Zhen Gao" userId="753ca5ad-a66a-4072-86ff-fe9bc8c0233d" providerId="ADAL" clId="{D13FCA20-FCA2-3F40-8503-AF89E197B5C6}" dt="2023-09-06T14:02:49.516" v="527" actId="478"/>
          <ac:spMkLst>
            <pc:docMk/>
            <pc:sldMk cId="95550526" sldId="3355"/>
            <ac:spMk id="17" creationId="{536BE5A8-8AAA-5F10-E085-80AC1D904008}"/>
          </ac:spMkLst>
        </pc:spChg>
        <pc:spChg chg="mod">
          <ac:chgData name="Zhen Gao" userId="753ca5ad-a66a-4072-86ff-fe9bc8c0233d" providerId="ADAL" clId="{D13FCA20-FCA2-3F40-8503-AF89E197B5C6}" dt="2023-09-06T14:10:12.192" v="567" actId="20577"/>
          <ac:spMkLst>
            <pc:docMk/>
            <pc:sldMk cId="95550526" sldId="3355"/>
            <ac:spMk id="3083" creationId="{7AABA583-1DD3-EFD3-3AFC-F4F99A18EB63}"/>
          </ac:spMkLst>
        </pc:spChg>
        <pc:picChg chg="del">
          <ac:chgData name="Zhen Gao" userId="753ca5ad-a66a-4072-86ff-fe9bc8c0233d" providerId="ADAL" clId="{D13FCA20-FCA2-3F40-8503-AF89E197B5C6}" dt="2023-09-06T13:37:35.747" v="487" actId="478"/>
          <ac:picMkLst>
            <pc:docMk/>
            <pc:sldMk cId="95550526" sldId="3355"/>
            <ac:picMk id="3" creationId="{8C9D1CA7-4466-B8E7-C27E-89F444DB7563}"/>
          </ac:picMkLst>
        </pc:picChg>
        <pc:picChg chg="add mod">
          <ac:chgData name="Zhen Gao" userId="753ca5ad-a66a-4072-86ff-fe9bc8c0233d" providerId="ADAL" clId="{D13FCA20-FCA2-3F40-8503-AF89E197B5C6}" dt="2023-09-06T14:04:51.059" v="541" actId="14100"/>
          <ac:picMkLst>
            <pc:docMk/>
            <pc:sldMk cId="95550526" sldId="3355"/>
            <ac:picMk id="4" creationId="{34A662BE-1DAD-1FD3-9DC5-3A780CF3DFDA}"/>
          </ac:picMkLst>
        </pc:picChg>
        <pc:picChg chg="add del mod">
          <ac:chgData name="Zhen Gao" userId="753ca5ad-a66a-4072-86ff-fe9bc8c0233d" providerId="ADAL" clId="{D13FCA20-FCA2-3F40-8503-AF89E197B5C6}" dt="2023-09-06T13:47:40.482" v="520" actId="478"/>
          <ac:picMkLst>
            <pc:docMk/>
            <pc:sldMk cId="95550526" sldId="3355"/>
            <ac:picMk id="5" creationId="{11867573-C0C1-9DB2-0FA2-DDFCA0B7BB18}"/>
          </ac:picMkLst>
        </pc:picChg>
        <pc:picChg chg="add mod">
          <ac:chgData name="Zhen Gao" userId="753ca5ad-a66a-4072-86ff-fe9bc8c0233d" providerId="ADAL" clId="{D13FCA20-FCA2-3F40-8503-AF89E197B5C6}" dt="2023-09-06T14:04:42.137" v="538" actId="1076"/>
          <ac:picMkLst>
            <pc:docMk/>
            <pc:sldMk cId="95550526" sldId="3355"/>
            <ac:picMk id="14" creationId="{2BC6CF70-97C1-7DCB-4E9A-F6E201F6F555}"/>
          </ac:picMkLst>
        </pc:picChg>
        <pc:picChg chg="add del mod">
          <ac:chgData name="Zhen Gao" userId="753ca5ad-a66a-4072-86ff-fe9bc8c0233d" providerId="ADAL" clId="{D13FCA20-FCA2-3F40-8503-AF89E197B5C6}" dt="2023-09-06T14:02:28.980" v="523" actId="478"/>
          <ac:picMkLst>
            <pc:docMk/>
            <pc:sldMk cId="95550526" sldId="3355"/>
            <ac:picMk id="3073" creationId="{8258AEDC-B7FE-2E8A-41CD-4955D178133E}"/>
          </ac:picMkLst>
        </pc:picChg>
      </pc:sldChg>
      <pc:sldChg chg="addSp delSp modSp add mod">
        <pc:chgData name="Zhen Gao" userId="753ca5ad-a66a-4072-86ff-fe9bc8c0233d" providerId="ADAL" clId="{D13FCA20-FCA2-3F40-8503-AF89E197B5C6}" dt="2023-09-06T14:09:20.871" v="555" actId="6549"/>
        <pc:sldMkLst>
          <pc:docMk/>
          <pc:sldMk cId="2559136570" sldId="3356"/>
        </pc:sldMkLst>
        <pc:spChg chg="del">
          <ac:chgData name="Zhen Gao" userId="753ca5ad-a66a-4072-86ff-fe9bc8c0233d" providerId="ADAL" clId="{D13FCA20-FCA2-3F40-8503-AF89E197B5C6}" dt="2023-09-06T14:06:31.398" v="544" actId="478"/>
          <ac:spMkLst>
            <pc:docMk/>
            <pc:sldMk cId="2559136570" sldId="3356"/>
            <ac:spMk id="4" creationId="{E3681A5A-6A87-F19F-92CB-38C0A12DF7CE}"/>
          </ac:spMkLst>
        </pc:spChg>
        <pc:spChg chg="del">
          <ac:chgData name="Zhen Gao" userId="753ca5ad-a66a-4072-86ff-fe9bc8c0233d" providerId="ADAL" clId="{D13FCA20-FCA2-3F40-8503-AF89E197B5C6}" dt="2023-09-06T14:06:35.231" v="545" actId="478"/>
          <ac:spMkLst>
            <pc:docMk/>
            <pc:sldMk cId="2559136570" sldId="3356"/>
            <ac:spMk id="5" creationId="{CADFE5C2-BFD9-D3AE-94B1-9A9DF02D5A4E}"/>
          </ac:spMkLst>
        </pc:spChg>
        <pc:spChg chg="del">
          <ac:chgData name="Zhen Gao" userId="753ca5ad-a66a-4072-86ff-fe9bc8c0233d" providerId="ADAL" clId="{D13FCA20-FCA2-3F40-8503-AF89E197B5C6}" dt="2023-09-06T14:06:35.231" v="545" actId="478"/>
          <ac:spMkLst>
            <pc:docMk/>
            <pc:sldMk cId="2559136570" sldId="3356"/>
            <ac:spMk id="6" creationId="{6E3413BE-6BC8-3D5B-6940-94BD64DCEB37}"/>
          </ac:spMkLst>
        </pc:spChg>
        <pc:spChg chg="del">
          <ac:chgData name="Zhen Gao" userId="753ca5ad-a66a-4072-86ff-fe9bc8c0233d" providerId="ADAL" clId="{D13FCA20-FCA2-3F40-8503-AF89E197B5C6}" dt="2023-09-06T14:06:31.398" v="544" actId="478"/>
          <ac:spMkLst>
            <pc:docMk/>
            <pc:sldMk cId="2559136570" sldId="3356"/>
            <ac:spMk id="12" creationId="{62652538-4B4C-C3EB-6425-D57CA0A97D05}"/>
          </ac:spMkLst>
        </pc:spChg>
        <pc:spChg chg="del">
          <ac:chgData name="Zhen Gao" userId="753ca5ad-a66a-4072-86ff-fe9bc8c0233d" providerId="ADAL" clId="{D13FCA20-FCA2-3F40-8503-AF89E197B5C6}" dt="2023-09-06T14:06:31.398" v="544" actId="478"/>
          <ac:spMkLst>
            <pc:docMk/>
            <pc:sldMk cId="2559136570" sldId="3356"/>
            <ac:spMk id="14" creationId="{0D4D01F4-5F2E-2520-3C0F-AC203AC34282}"/>
          </ac:spMkLst>
        </pc:spChg>
        <pc:spChg chg="mod">
          <ac:chgData name="Zhen Gao" userId="753ca5ad-a66a-4072-86ff-fe9bc8c0233d" providerId="ADAL" clId="{D13FCA20-FCA2-3F40-8503-AF89E197B5C6}" dt="2023-09-06T14:09:20.871" v="555" actId="6549"/>
          <ac:spMkLst>
            <pc:docMk/>
            <pc:sldMk cId="2559136570" sldId="3356"/>
            <ac:spMk id="4105" creationId="{80632205-89BF-CCA7-C292-E827E2D206B2}"/>
          </ac:spMkLst>
        </pc:spChg>
        <pc:picChg chg="del">
          <ac:chgData name="Zhen Gao" userId="753ca5ad-a66a-4072-86ff-fe9bc8c0233d" providerId="ADAL" clId="{D13FCA20-FCA2-3F40-8503-AF89E197B5C6}" dt="2023-09-06T13:37:31.401" v="486" actId="478"/>
          <ac:picMkLst>
            <pc:docMk/>
            <pc:sldMk cId="2559136570" sldId="3356"/>
            <ac:picMk id="3" creationId="{C145B1DF-4E46-26B7-6B32-1587A9E62795}"/>
          </ac:picMkLst>
        </pc:picChg>
        <pc:picChg chg="add mod">
          <ac:chgData name="Zhen Gao" userId="753ca5ad-a66a-4072-86ff-fe9bc8c0233d" providerId="ADAL" clId="{D13FCA20-FCA2-3F40-8503-AF89E197B5C6}" dt="2023-09-06T14:09:10.417" v="553" actId="1076"/>
          <ac:picMkLst>
            <pc:docMk/>
            <pc:sldMk cId="2559136570" sldId="3356"/>
            <ac:picMk id="7" creationId="{68C286E6-584E-A1DD-704E-E1F6376741AC}"/>
          </ac:picMkLst>
        </pc:picChg>
        <pc:picChg chg="add mod">
          <ac:chgData name="Zhen Gao" userId="753ca5ad-a66a-4072-86ff-fe9bc8c0233d" providerId="ADAL" clId="{D13FCA20-FCA2-3F40-8503-AF89E197B5C6}" dt="2023-09-06T14:09:12.037" v="554" actId="1076"/>
          <ac:picMkLst>
            <pc:docMk/>
            <pc:sldMk cId="2559136570" sldId="3356"/>
            <ac:picMk id="9" creationId="{163AA3EC-CC92-BD58-C327-632610823282}"/>
          </ac:picMkLst>
        </pc:picChg>
        <pc:picChg chg="del">
          <ac:chgData name="Zhen Gao" userId="753ca5ad-a66a-4072-86ff-fe9bc8c0233d" providerId="ADAL" clId="{D13FCA20-FCA2-3F40-8503-AF89E197B5C6}" dt="2023-09-06T14:06:16.484" v="543" actId="478"/>
          <ac:picMkLst>
            <pc:docMk/>
            <pc:sldMk cId="2559136570" sldId="3356"/>
            <ac:picMk id="4097" creationId="{E34E7951-F671-DBEE-A8EC-9B12D02E6977}"/>
          </ac:picMkLst>
        </pc:picChg>
      </pc:sldChg>
      <pc:sldChg chg="addSp delSp modSp add mod">
        <pc:chgData name="Zhen Gao" userId="753ca5ad-a66a-4072-86ff-fe9bc8c0233d" providerId="ADAL" clId="{D13FCA20-FCA2-3F40-8503-AF89E197B5C6}" dt="2023-09-06T14:11:56.174" v="584" actId="6549"/>
        <pc:sldMkLst>
          <pc:docMk/>
          <pc:sldMk cId="3936688300" sldId="3357"/>
        </pc:sldMkLst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4" creationId="{B75954BB-CF69-C534-43E4-303D41E5F5C8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5" creationId="{ECB7BE9B-ECD8-6961-4786-C3915BD1E9FD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6" creationId="{FC7ADE07-7F67-D800-55F9-B260C7AE7654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10" creationId="{B6824FFA-F291-662F-2B05-391BFB3D75A1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12" creationId="{3A50BAE2-2895-2119-6E60-A609FAA727E4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14" creationId="{AFEA6446-FDCD-A5F8-7BDB-61EC22A5EA40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19" creationId="{34AEA5CC-A682-5FB1-A8BD-7B9B64CA1AC2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21" creationId="{1BB5CB2E-41F1-18B4-6B2A-8AE9D6DF3C40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22" creationId="{38487DE2-EACB-6D95-FD4C-C60D9B6544F8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25" creationId="{0EDFFC46-6B04-C3D0-7B59-0C2733EC1302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26" creationId="{D53D6C6B-4AE5-93ED-7972-C062884FE54B}"/>
          </ac:spMkLst>
        </pc:spChg>
        <pc:spChg chg="del">
          <ac:chgData name="Zhen Gao" userId="753ca5ad-a66a-4072-86ff-fe9bc8c0233d" providerId="ADAL" clId="{D13FCA20-FCA2-3F40-8503-AF89E197B5C6}" dt="2023-09-06T14:10:28.376" v="568" actId="478"/>
          <ac:spMkLst>
            <pc:docMk/>
            <pc:sldMk cId="3936688300" sldId="3357"/>
            <ac:spMk id="27" creationId="{CC772FDD-8356-6202-2DB6-D205D987AF16}"/>
          </ac:spMkLst>
        </pc:spChg>
        <pc:spChg chg="mod">
          <ac:chgData name="Zhen Gao" userId="753ca5ad-a66a-4072-86ff-fe9bc8c0233d" providerId="ADAL" clId="{D13FCA20-FCA2-3F40-8503-AF89E197B5C6}" dt="2023-09-06T14:11:56.174" v="584" actId="6549"/>
          <ac:spMkLst>
            <pc:docMk/>
            <pc:sldMk cId="3936688300" sldId="3357"/>
            <ac:spMk id="5121" creationId="{F422A590-288E-3797-29E5-C9904B75C7AB}"/>
          </ac:spMkLst>
        </pc:spChg>
        <pc:picChg chg="del">
          <ac:chgData name="Zhen Gao" userId="753ca5ad-a66a-4072-86ff-fe9bc8c0233d" providerId="ADAL" clId="{D13FCA20-FCA2-3F40-8503-AF89E197B5C6}" dt="2023-09-06T13:47:54.663" v="521" actId="478"/>
          <ac:picMkLst>
            <pc:docMk/>
            <pc:sldMk cId="3936688300" sldId="3357"/>
            <ac:picMk id="3" creationId="{F6C6F23C-1C8D-9237-7339-0E1347F99D6C}"/>
          </ac:picMkLst>
        </pc:picChg>
        <pc:picChg chg="add mod">
          <ac:chgData name="Zhen Gao" userId="753ca5ad-a66a-4072-86ff-fe9bc8c0233d" providerId="ADAL" clId="{D13FCA20-FCA2-3F40-8503-AF89E197B5C6}" dt="2023-09-06T14:11:02.159" v="583" actId="1076"/>
          <ac:picMkLst>
            <pc:docMk/>
            <pc:sldMk cId="3936688300" sldId="3357"/>
            <ac:picMk id="7" creationId="{B8752C6A-86CC-9B15-04A9-A04761578F25}"/>
          </ac:picMkLst>
        </pc:picChg>
        <pc:picChg chg="add mod">
          <ac:chgData name="Zhen Gao" userId="753ca5ad-a66a-4072-86ff-fe9bc8c0233d" providerId="ADAL" clId="{D13FCA20-FCA2-3F40-8503-AF89E197B5C6}" dt="2023-09-06T14:11:00.676" v="582" actId="1076"/>
          <ac:picMkLst>
            <pc:docMk/>
            <pc:sldMk cId="3936688300" sldId="3357"/>
            <ac:picMk id="9" creationId="{9B2BC0E4-FBC1-7FC4-9B3F-2194D6C79016}"/>
          </ac:picMkLst>
        </pc:picChg>
        <pc:picChg chg="del mod">
          <ac:chgData name="Zhen Gao" userId="753ca5ad-a66a-4072-86ff-fe9bc8c0233d" providerId="ADAL" clId="{D13FCA20-FCA2-3F40-8503-AF89E197B5C6}" dt="2023-09-06T14:10:30.909" v="570" actId="478"/>
          <ac:picMkLst>
            <pc:docMk/>
            <pc:sldMk cId="3936688300" sldId="3357"/>
            <ac:picMk id="5122" creationId="{708521B5-A6C7-3101-509E-01F668B04A82}"/>
          </ac:picMkLst>
        </pc:picChg>
      </pc:sldChg>
      <pc:sldChg chg="addSp delSp modSp add mod">
        <pc:chgData name="Zhen Gao" userId="753ca5ad-a66a-4072-86ff-fe9bc8c0233d" providerId="ADAL" clId="{D13FCA20-FCA2-3F40-8503-AF89E197B5C6}" dt="2023-09-06T14:12:35.207" v="594" actId="1076"/>
        <pc:sldMkLst>
          <pc:docMk/>
          <pc:sldMk cId="4269353699" sldId="3358"/>
        </pc:sldMkLst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4" creationId="{4451208E-3B12-E001-4F1F-C41CDF366E83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5" creationId="{6F98CD15-C250-31E2-C6ED-555361634B9D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6" creationId="{37DF7A95-9C3F-120D-34BD-83252EDD3415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7" creationId="{6AD76EE8-54FC-AC7E-77FD-AAF60B182EA1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8" creationId="{AD9F0195-A387-3FC0-0ECF-EB109667706A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9" creationId="{EE618207-99E8-FD80-E1D1-32A9EC2DF1DB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10" creationId="{417E2E60-0C56-74C5-BA28-DC11CE867CC4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36" creationId="{4E81F271-9D0D-1263-D126-C8FA5573513E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39" creationId="{BB5C7AD4-1E27-64EE-44A3-6D01862D9EE1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40" creationId="{1DA2C969-CF07-B719-C598-7EA77AA40500}"/>
          </ac:spMkLst>
        </pc:spChg>
        <pc:spChg chg="del">
          <ac:chgData name="Zhen Gao" userId="753ca5ad-a66a-4072-86ff-fe9bc8c0233d" providerId="ADAL" clId="{D13FCA20-FCA2-3F40-8503-AF89E197B5C6}" dt="2023-09-06T14:12:09.491" v="585" actId="478"/>
          <ac:spMkLst>
            <pc:docMk/>
            <pc:sldMk cId="4269353699" sldId="3358"/>
            <ac:spMk id="42" creationId="{DF602D59-304F-AE36-BE7E-FF77DCB7DFA8}"/>
          </ac:spMkLst>
        </pc:spChg>
        <pc:spChg chg="mod">
          <ac:chgData name="Zhen Gao" userId="753ca5ad-a66a-4072-86ff-fe9bc8c0233d" providerId="ADAL" clId="{D13FCA20-FCA2-3F40-8503-AF89E197B5C6}" dt="2023-09-06T13:37:10.754" v="481" actId="20577"/>
          <ac:spMkLst>
            <pc:docMk/>
            <pc:sldMk cId="4269353699" sldId="3358"/>
            <ac:spMk id="6145" creationId="{44D6EF7D-492F-EE2E-C4C7-70321D0565A4}"/>
          </ac:spMkLst>
        </pc:spChg>
        <pc:picChg chg="del">
          <ac:chgData name="Zhen Gao" userId="753ca5ad-a66a-4072-86ff-fe9bc8c0233d" providerId="ADAL" clId="{D13FCA20-FCA2-3F40-8503-AF89E197B5C6}" dt="2023-09-06T13:47:58.212" v="522" actId="478"/>
          <ac:picMkLst>
            <pc:docMk/>
            <pc:sldMk cId="4269353699" sldId="3358"/>
            <ac:picMk id="3" creationId="{BF543BA4-EA9B-A119-76D3-5ECA76689073}"/>
          </ac:picMkLst>
        </pc:picChg>
        <pc:picChg chg="add mod">
          <ac:chgData name="Zhen Gao" userId="753ca5ad-a66a-4072-86ff-fe9bc8c0233d" providerId="ADAL" clId="{D13FCA20-FCA2-3F40-8503-AF89E197B5C6}" dt="2023-09-06T14:12:35.207" v="594" actId="1076"/>
          <ac:picMkLst>
            <pc:docMk/>
            <pc:sldMk cId="4269353699" sldId="3358"/>
            <ac:picMk id="11" creationId="{69C101F6-4983-C741-6D4C-974A5A291037}"/>
          </ac:picMkLst>
        </pc:picChg>
        <pc:picChg chg="add mod">
          <ac:chgData name="Zhen Gao" userId="753ca5ad-a66a-4072-86ff-fe9bc8c0233d" providerId="ADAL" clId="{D13FCA20-FCA2-3F40-8503-AF89E197B5C6}" dt="2023-09-06T14:12:30.367" v="591" actId="1076"/>
          <ac:picMkLst>
            <pc:docMk/>
            <pc:sldMk cId="4269353699" sldId="3358"/>
            <ac:picMk id="13" creationId="{F83AAAE6-FF22-0EAC-E7BB-C00EC19BC52D}"/>
          </ac:picMkLst>
        </pc:picChg>
        <pc:picChg chg="del">
          <ac:chgData name="Zhen Gao" userId="753ca5ad-a66a-4072-86ff-fe9bc8c0233d" providerId="ADAL" clId="{D13FCA20-FCA2-3F40-8503-AF89E197B5C6}" dt="2023-09-06T14:12:11.505" v="586" actId="478"/>
          <ac:picMkLst>
            <pc:docMk/>
            <pc:sldMk cId="4269353699" sldId="3358"/>
            <ac:picMk id="6146" creationId="{9D439DB7-3046-5516-0A02-53D0DADB1F0C}"/>
          </ac:picMkLst>
        </pc:picChg>
      </pc:sldChg>
      <pc:sldChg chg="addSp delSp modSp add mod">
        <pc:chgData name="Zhen Gao" userId="753ca5ad-a66a-4072-86ff-fe9bc8c0233d" providerId="ADAL" clId="{D13FCA20-FCA2-3F40-8503-AF89E197B5C6}" dt="2023-09-06T14:14:05.904" v="605" actId="1076"/>
        <pc:sldMkLst>
          <pc:docMk/>
          <pc:sldMk cId="1643924269" sldId="3359"/>
        </pc:sldMkLst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4" creationId="{4625B19A-6445-47F3-62DD-D18A5FC91E33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5" creationId="{31E35850-9F5C-6EC7-AE6E-DEDB1741101C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6" creationId="{BDA8D1E0-A80E-92F9-EC49-B8E98AF80044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7" creationId="{2C4BDA91-5513-F52E-9D76-7104AC8F44C7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8" creationId="{0298AD55-07DE-2C01-8A3B-28A1938DC13F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9" creationId="{5010C272-DD2F-DB4D-F6E8-58B1DCF405C5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10" creationId="{A17D9E39-9C99-0837-85F8-968480432735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11" creationId="{0EC0B447-34CB-F741-95E4-2CCF0AE0617C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12" creationId="{D046C56F-E2C8-D19D-421A-C5246AFE3B1F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13" creationId="{EE702B3A-BD0B-CF7B-7A23-9D17D5982A81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14" creationId="{D88809EE-485C-674B-2103-A1A96DDB6714}"/>
          </ac:spMkLst>
        </pc:spChg>
        <pc:spChg chg="del">
          <ac:chgData name="Zhen Gao" userId="753ca5ad-a66a-4072-86ff-fe9bc8c0233d" providerId="ADAL" clId="{D13FCA20-FCA2-3F40-8503-AF89E197B5C6}" dt="2023-09-06T14:13:33.552" v="595" actId="478"/>
          <ac:spMkLst>
            <pc:docMk/>
            <pc:sldMk cId="1643924269" sldId="3359"/>
            <ac:spMk id="15" creationId="{26052AED-5425-9AB9-6D9C-ED4BBEAFDC76}"/>
          </ac:spMkLst>
        </pc:spChg>
        <pc:spChg chg="mod">
          <ac:chgData name="Zhen Gao" userId="753ca5ad-a66a-4072-86ff-fe9bc8c0233d" providerId="ADAL" clId="{D13FCA20-FCA2-3F40-8503-AF89E197B5C6}" dt="2023-09-06T13:37:14.732" v="482" actId="20577"/>
          <ac:spMkLst>
            <pc:docMk/>
            <pc:sldMk cId="1643924269" sldId="3359"/>
            <ac:spMk id="7169" creationId="{5B8096D7-2558-ABC5-4AC4-1C305286E960}"/>
          </ac:spMkLst>
        </pc:spChg>
        <pc:picChg chg="del">
          <ac:chgData name="Zhen Gao" userId="753ca5ad-a66a-4072-86ff-fe9bc8c0233d" providerId="ADAL" clId="{D13FCA20-FCA2-3F40-8503-AF89E197B5C6}" dt="2023-09-06T13:37:25.579" v="485" actId="478"/>
          <ac:picMkLst>
            <pc:docMk/>
            <pc:sldMk cId="1643924269" sldId="3359"/>
            <ac:picMk id="3" creationId="{506520D9-D352-F030-613F-539C64918EDD}"/>
          </ac:picMkLst>
        </pc:picChg>
        <pc:picChg chg="add mod">
          <ac:chgData name="Zhen Gao" userId="753ca5ad-a66a-4072-86ff-fe9bc8c0233d" providerId="ADAL" clId="{D13FCA20-FCA2-3F40-8503-AF89E197B5C6}" dt="2023-09-06T14:14:01.269" v="603" actId="1076"/>
          <ac:picMkLst>
            <pc:docMk/>
            <pc:sldMk cId="1643924269" sldId="3359"/>
            <ac:picMk id="16" creationId="{750BD4E8-DE37-8D17-8359-F8747C023685}"/>
          </ac:picMkLst>
        </pc:picChg>
        <pc:picChg chg="add mod">
          <ac:chgData name="Zhen Gao" userId="753ca5ad-a66a-4072-86ff-fe9bc8c0233d" providerId="ADAL" clId="{D13FCA20-FCA2-3F40-8503-AF89E197B5C6}" dt="2023-09-06T14:14:05.904" v="605" actId="1076"/>
          <ac:picMkLst>
            <pc:docMk/>
            <pc:sldMk cId="1643924269" sldId="3359"/>
            <ac:picMk id="18" creationId="{C06A8BBF-E53B-54E5-246C-24DE7149BB57}"/>
          </ac:picMkLst>
        </pc:picChg>
        <pc:picChg chg="del">
          <ac:chgData name="Zhen Gao" userId="753ca5ad-a66a-4072-86ff-fe9bc8c0233d" providerId="ADAL" clId="{D13FCA20-FCA2-3F40-8503-AF89E197B5C6}" dt="2023-09-06T14:13:35.573" v="596" actId="478"/>
          <ac:picMkLst>
            <pc:docMk/>
            <pc:sldMk cId="1643924269" sldId="3359"/>
            <ac:picMk id="7170" creationId="{9C423EF4-1718-81F8-AE62-B9B16F490126}"/>
          </ac:picMkLst>
        </pc:picChg>
      </pc:sldChg>
      <pc:sldChg chg="addSp delSp modSp add mod">
        <pc:chgData name="Zhen Gao" userId="753ca5ad-a66a-4072-86ff-fe9bc8c0233d" providerId="ADAL" clId="{D13FCA20-FCA2-3F40-8503-AF89E197B5C6}" dt="2023-09-06T14:15:34.431" v="617" actId="1076"/>
        <pc:sldMkLst>
          <pc:docMk/>
          <pc:sldMk cId="3446768857" sldId="3360"/>
        </pc:sldMkLst>
        <pc:spChg chg="mod">
          <ac:chgData name="Zhen Gao" userId="753ca5ad-a66a-4072-86ff-fe9bc8c0233d" providerId="ADAL" clId="{D13FCA20-FCA2-3F40-8503-AF89E197B5C6}" dt="2023-09-06T13:37:18.698" v="483" actId="20577"/>
          <ac:spMkLst>
            <pc:docMk/>
            <pc:sldMk cId="3446768857" sldId="3360"/>
            <ac:spMk id="8193" creationId="{F35A6C64-11AC-D88C-B285-C4A10D9B3686}"/>
          </ac:spMkLst>
        </pc:spChg>
        <pc:picChg chg="del">
          <ac:chgData name="Zhen Gao" userId="753ca5ad-a66a-4072-86ff-fe9bc8c0233d" providerId="ADAL" clId="{D13FCA20-FCA2-3F40-8503-AF89E197B5C6}" dt="2023-09-06T13:37:21.355" v="484" actId="478"/>
          <ac:picMkLst>
            <pc:docMk/>
            <pc:sldMk cId="3446768857" sldId="3360"/>
            <ac:picMk id="3" creationId="{9DEDF5DE-D319-B199-B782-1EF3273FB3D3}"/>
          </ac:picMkLst>
        </pc:picChg>
        <pc:picChg chg="add mod">
          <ac:chgData name="Zhen Gao" userId="753ca5ad-a66a-4072-86ff-fe9bc8c0233d" providerId="ADAL" clId="{D13FCA20-FCA2-3F40-8503-AF89E197B5C6}" dt="2023-09-06T14:15:28.074" v="614" actId="1076"/>
          <ac:picMkLst>
            <pc:docMk/>
            <pc:sldMk cId="3446768857" sldId="3360"/>
            <ac:picMk id="4" creationId="{46892832-CCBF-B05C-52E9-0C2F7277613C}"/>
          </ac:picMkLst>
        </pc:picChg>
        <pc:picChg chg="add mod">
          <ac:chgData name="Zhen Gao" userId="753ca5ad-a66a-4072-86ff-fe9bc8c0233d" providerId="ADAL" clId="{D13FCA20-FCA2-3F40-8503-AF89E197B5C6}" dt="2023-09-06T14:15:34.431" v="617" actId="1076"/>
          <ac:picMkLst>
            <pc:docMk/>
            <pc:sldMk cId="3446768857" sldId="3360"/>
            <ac:picMk id="6" creationId="{46C9381C-D7CB-E522-0E63-A775CE1C4913}"/>
          </ac:picMkLst>
        </pc:picChg>
        <pc:picChg chg="del">
          <ac:chgData name="Zhen Gao" userId="753ca5ad-a66a-4072-86ff-fe9bc8c0233d" providerId="ADAL" clId="{D13FCA20-FCA2-3F40-8503-AF89E197B5C6}" dt="2023-09-06T14:15:01.751" v="606" actId="478"/>
          <ac:picMkLst>
            <pc:docMk/>
            <pc:sldMk cId="3446768857" sldId="3360"/>
            <ac:picMk id="8195" creationId="{0F21001B-469C-A58D-7421-104BB4C8D832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ACCEDD-72A0-1844-A3BE-3D720FF4039A}" type="datetimeFigureOut">
              <a:rPr lang="en-US" smtClean="0"/>
              <a:t>9/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D8840A-CCE7-AE41-A4B4-3FEDC9853E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7375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17156-5493-90A6-544C-58D71213F3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E400AB-91A9-834C-9F36-627E85F43696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1F1FDF-6D76-FBEA-FC63-DE3B6AA29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FA8393-0FC4-B692-269E-A4718B822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FFAE5D-F3FA-B84B-9E8E-A2AD68CEA4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4504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B27139-267B-59CD-F3AE-4B65261A5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92CCA9-C6DE-A344-83A4-F7A394E7A249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0BC60E-9900-5995-74F5-1E8E51533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11AC2B-CD63-B2CA-136F-42C86011E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09D1D-7C7D-0A4B-8017-639D829E19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770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2561AC-0024-6CEE-A7D2-DBA27328A2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D686C5-A331-D04C-A431-5C5D76173A6E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DA5791-CDAC-04ED-9D66-1CA0ACD1A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0794E0-67D7-2B68-F246-5B94128F8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68CC66-3BB4-9442-AFF4-DE016E79D7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7427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8748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D90946-DCD2-2144-1833-13000D6E49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691AE3-7440-3840-BB69-3F52D64ACE20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A7E063-7931-289D-1487-36454E90D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E0DADA-3BAB-53F7-DF8A-E9C2E4EA49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8BAB25-366A-F948-BCD3-6A9836D55F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265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07B105-B1C1-9C4D-205C-36E208786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7224A-E15B-AA4C-A85B-371CDCA4C99F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75F5AA-EC7E-58E9-A75D-71BCC70FD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0DB0CF-67EE-1B04-C890-88B57BD77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41854C-1789-1845-9054-6F6B3CB408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7864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D14825C-2CE1-A7E8-3550-963A63A64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24F78C-352A-B240-8A06-D4F45A1C7E29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F9555E-C1C0-B2B7-898E-9C9FDD0DF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76DC121-6419-3A68-CE3C-A0E1D16692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FE89A1-8971-974B-88C8-D3675A27D84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5065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8C875A3-4F47-F036-4311-4773E37C3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9E9BE0-9AF2-4A4B-8ECD-97141DDF40C8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41E7EFC-0EB4-F393-21BC-68BE25C6C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809207A-60FD-B808-A495-4919DB036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C7AAD-F8E2-8E47-BBD9-5463DE0F89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913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5A217A6-FBA9-2FDC-C4AA-DE1755CB59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02F9A4-9F92-074E-9671-FCBE960004AA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984EA7F-76D1-4FE6-78D8-20B3C7F7CB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459F28A-515C-D49C-1238-A4771B673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59611F-0D93-7143-B194-0690AB1003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5235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9DCB371-5697-1017-3BE8-F94431AABC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2F9DF2-0681-E44A-80F2-97FFF61C4C8D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C055365-ED43-BB32-0542-89CB9D3F2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01DD12B-2EDE-3573-B1F8-E45C6619B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A60D70-7860-3C46-8622-4D3FA3C9B0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488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69B76DF-293A-28D0-CED8-17C1EB0E6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32F721-3BAF-4C4C-800B-ED124F0F4583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5CFDEAB-901A-8660-422E-31C276941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E4A02C-7930-54F0-DC9A-7409C75AA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5AF1FC-7F8A-B44C-BBE8-8A0A736AF2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606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ACDC0B3-2B78-FA19-D593-CA39027C6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326EC7-6F9D-5649-A5A7-18D86BE92893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0E46FD4-AE10-3DDD-C565-6D7A96C5B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5EFBC5C-0C2A-F0A9-A572-56CC1C90E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6321C1-CB3C-D248-8E39-CB58FDD9B0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772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84904900-245E-A530-1F74-04DB9374669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D348B96F-6FE5-86D3-37E5-652E7D68A06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1E042A-053A-4A60-AAEC-EBE924624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F72F57C-AF9A-0643-9346-F6AB4C6AB215}" type="datetimeFigureOut">
              <a:rPr lang="en-US"/>
              <a:pPr>
                <a:defRPr/>
              </a:pPr>
              <a:t>9/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74DB1D-7A7C-B061-B70C-EB4834DBF6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09239A-77A0-E9D3-2A65-CC652495BE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3EF170F-A229-B340-9EBA-B0A851A06EC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2.bin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</a:t>
            </a:r>
          </a:p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Sep 5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Modified U1 snRNA as splice modulator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TextBox 3">
            <a:extLst>
              <a:ext uri="{FF2B5EF4-FFF2-40B4-BE49-F238E27FC236}">
                <a16:creationId xmlns:a16="http://schemas.microsoft.com/office/drawing/2014/main" id="{C956872E-C5F6-0BDB-03A7-E4EA50BFF4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163" y="277813"/>
            <a:ext cx="521206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SG-Group1: </a:t>
            </a:r>
            <a:r>
              <a:rPr lang="en-US" altLang="en-US" dirty="0" err="1"/>
              <a:t>DSMO_and_WT</a:t>
            </a:r>
            <a:endParaRPr lang="en-US" altLang="en-US" dirty="0"/>
          </a:p>
          <a:p>
            <a:pPr eaLnBrk="1" hangingPunct="1"/>
            <a:r>
              <a:rPr lang="en-US" altLang="en-US" dirty="0"/>
              <a:t>WT-100 and WT-500 has no or nearly no effect in DSG</a:t>
            </a:r>
          </a:p>
        </p:txBody>
      </p:sp>
      <p:pic>
        <p:nvPicPr>
          <p:cNvPr id="3" name="Picture 2" descr="A screenshot of a graph&#10;&#10;Description automatically generated">
            <a:extLst>
              <a:ext uri="{FF2B5EF4-FFF2-40B4-BE49-F238E27FC236}">
                <a16:creationId xmlns:a16="http://schemas.microsoft.com/office/drawing/2014/main" id="{72EF2500-E853-457B-DAA0-815F36FEFF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9710" y="1465383"/>
            <a:ext cx="4091940" cy="5246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6395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3" name="TextBox 20">
            <a:extLst>
              <a:ext uri="{FF2B5EF4-FFF2-40B4-BE49-F238E27FC236}">
                <a16:creationId xmlns:a16="http://schemas.microsoft.com/office/drawing/2014/main" id="{7AABA583-1DD3-EFD3-3AFC-F4F99A18EB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228600"/>
            <a:ext cx="708977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SG-Group2: WT_mut1</a:t>
            </a:r>
          </a:p>
          <a:p>
            <a:pPr eaLnBrk="1" hangingPunct="1"/>
            <a:r>
              <a:rPr lang="en-US" altLang="en-US" dirty="0"/>
              <a:t>mut1-500 causes modest DSG</a:t>
            </a:r>
          </a:p>
        </p:txBody>
      </p:sp>
      <p:pic>
        <p:nvPicPr>
          <p:cNvPr id="4" name="Picture 3" descr="A graph of numbers and letters&#10;&#10;Description automatically generated">
            <a:extLst>
              <a:ext uri="{FF2B5EF4-FFF2-40B4-BE49-F238E27FC236}">
                <a16:creationId xmlns:a16="http://schemas.microsoft.com/office/drawing/2014/main" id="{34A662BE-1DAD-1FD3-9DC5-3A780CF3DF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8062" y="1187694"/>
            <a:ext cx="5814646" cy="48954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BC6CF70-97C1-7DCB-4E9A-F6E201F6F5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70323" y="1512268"/>
            <a:ext cx="6400800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505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5" name="TextBox 16">
            <a:extLst>
              <a:ext uri="{FF2B5EF4-FFF2-40B4-BE49-F238E27FC236}">
                <a16:creationId xmlns:a16="http://schemas.microsoft.com/office/drawing/2014/main" id="{80632205-89BF-CCA7-C292-E827E2D206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563" y="241300"/>
            <a:ext cx="70897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SG-Group3: WT_mut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C286E6-584E-A1DD-704E-E1F6376741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57616" y="1852246"/>
            <a:ext cx="6119446" cy="6119446"/>
          </a:xfrm>
          <a:prstGeom prst="rect">
            <a:avLst/>
          </a:prstGeom>
        </p:spPr>
      </p:pic>
      <p:pic>
        <p:nvPicPr>
          <p:cNvPr id="9" name="Picture 8" descr="A graph of numbers and letters&#10;&#10;Description automatically generated with medium confidence">
            <a:extLst>
              <a:ext uri="{FF2B5EF4-FFF2-40B4-BE49-F238E27FC236}">
                <a16:creationId xmlns:a16="http://schemas.microsoft.com/office/drawing/2014/main" id="{163AA3EC-CC92-BD58-C327-6326108232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4858" y="841375"/>
            <a:ext cx="5434115" cy="554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1365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TextBox 3">
            <a:extLst>
              <a:ext uri="{FF2B5EF4-FFF2-40B4-BE49-F238E27FC236}">
                <a16:creationId xmlns:a16="http://schemas.microsoft.com/office/drawing/2014/main" id="{F422A590-288E-3797-29E5-C9904B75C7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0850" y="466725"/>
            <a:ext cx="397365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SG-Group4: BIO5127_and_mut1_mut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8752C6A-86CC-9B15-04A9-A04761578F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56310" y="1295398"/>
            <a:ext cx="6342185" cy="6342185"/>
          </a:xfrm>
          <a:prstGeom prst="rect">
            <a:avLst/>
          </a:prstGeom>
        </p:spPr>
      </p:pic>
      <p:pic>
        <p:nvPicPr>
          <p:cNvPr id="9" name="Picture 8" descr="A graph of numbers and a chart of numbers&#10;&#10;Description automatically generated with medium confidence">
            <a:extLst>
              <a:ext uri="{FF2B5EF4-FFF2-40B4-BE49-F238E27FC236}">
                <a16:creationId xmlns:a16="http://schemas.microsoft.com/office/drawing/2014/main" id="{9B2BC0E4-FBC1-7FC4-9B3F-2194D6C790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7707" y="381000"/>
            <a:ext cx="5463443" cy="6242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688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TextBox 3">
            <a:extLst>
              <a:ext uri="{FF2B5EF4-FFF2-40B4-BE49-F238E27FC236}">
                <a16:creationId xmlns:a16="http://schemas.microsoft.com/office/drawing/2014/main" id="{44D6EF7D-492F-EE2E-C4C7-70321D0565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1588" y="466725"/>
            <a:ext cx="48006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SG-Group5: PTC518_and_mut1_mut2</a:t>
            </a:r>
          </a:p>
          <a:p>
            <a:pPr eaLnBrk="1" hangingPunct="1"/>
            <a:r>
              <a:rPr lang="en-US" altLang="en-US" dirty="0"/>
              <a:t>PTC518 induced different gene expression from mut2</a:t>
            </a:r>
          </a:p>
        </p:txBody>
      </p:sp>
      <p:pic>
        <p:nvPicPr>
          <p:cNvPr id="11" name="Picture 10" descr="A graph of numbers and a bar chart&#10;&#10;Description automatically generated with medium confidence">
            <a:extLst>
              <a:ext uri="{FF2B5EF4-FFF2-40B4-BE49-F238E27FC236}">
                <a16:creationId xmlns:a16="http://schemas.microsoft.com/office/drawing/2014/main" id="{69C101F6-4983-C741-6D4C-974A5A2910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928390"/>
            <a:ext cx="6024152" cy="557791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83AAAE6-FF22-0EAC-E7BB-C00EC19BC5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17453" y="1576753"/>
            <a:ext cx="6400800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3536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extBox 3">
            <a:extLst>
              <a:ext uri="{FF2B5EF4-FFF2-40B4-BE49-F238E27FC236}">
                <a16:creationId xmlns:a16="http://schemas.microsoft.com/office/drawing/2014/main" id="{5B8096D7-2558-ABC5-4AC4-1C305286E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4017" y="314325"/>
            <a:ext cx="418742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SG-Group6: Branaplam_and_mut1_mut2</a:t>
            </a:r>
          </a:p>
          <a:p>
            <a:pPr eaLnBrk="1" hangingPunct="1"/>
            <a:r>
              <a:rPr lang="en-US" altLang="en-US" dirty="0" err="1"/>
              <a:t>Branaplam</a:t>
            </a:r>
            <a:r>
              <a:rPr lang="en-US" altLang="en-US" dirty="0"/>
              <a:t> induced modest splice chang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50BD4E8-DE37-8D17-8359-F8747C0236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78877" y="1377462"/>
            <a:ext cx="6400800" cy="6400800"/>
          </a:xfrm>
          <a:prstGeom prst="rect">
            <a:avLst/>
          </a:prstGeom>
        </p:spPr>
      </p:pic>
      <p:pic>
        <p:nvPicPr>
          <p:cNvPr id="18" name="Picture 17" descr="A graph of numbers and a graph of numbers&#10;&#10;Description automatically generated with medium confidence">
            <a:extLst>
              <a:ext uri="{FF2B5EF4-FFF2-40B4-BE49-F238E27FC236}">
                <a16:creationId xmlns:a16="http://schemas.microsoft.com/office/drawing/2014/main" id="{C06A8BBF-E53B-54E5-246C-24DE7149BB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3868" y="637490"/>
            <a:ext cx="5729067" cy="5304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924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extBox 3">
            <a:extLst>
              <a:ext uri="{FF2B5EF4-FFF2-40B4-BE49-F238E27FC236}">
                <a16:creationId xmlns:a16="http://schemas.microsoft.com/office/drawing/2014/main" id="{F35A6C64-11AC-D88C-B285-C4A10D9B36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9481" y="328503"/>
            <a:ext cx="48474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SG-Group7: PTC518_and_Branaplam_and_WT</a:t>
            </a:r>
          </a:p>
          <a:p>
            <a:pPr eaLnBrk="1" hangingPunct="1"/>
            <a:r>
              <a:rPr lang="en-US" altLang="en-US" dirty="0"/>
              <a:t>PTC518 prone to induced more DSG with high W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892832-CCBF-B05C-52E9-0C2F727761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16170" y="1541584"/>
            <a:ext cx="5967045" cy="5967045"/>
          </a:xfrm>
          <a:prstGeom prst="rect">
            <a:avLst/>
          </a:prstGeom>
        </p:spPr>
      </p:pic>
      <p:pic>
        <p:nvPicPr>
          <p:cNvPr id="6" name="Picture 5" descr="A graph of a number of data&#10;&#10;Description automatically generated with medium confidence">
            <a:extLst>
              <a:ext uri="{FF2B5EF4-FFF2-40B4-BE49-F238E27FC236}">
                <a16:creationId xmlns:a16="http://schemas.microsoft.com/office/drawing/2014/main" id="{46C9381C-D7CB-E522-0E63-A775CE1C4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5939" y="449317"/>
            <a:ext cx="5244242" cy="5959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7688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TextBox 3">
            <a:extLst>
              <a:ext uri="{FF2B5EF4-FFF2-40B4-BE49-F238E27FC236}">
                <a16:creationId xmlns:a16="http://schemas.microsoft.com/office/drawing/2014/main" id="{61990848-A959-BE27-E9B0-8D135330B0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9738" y="466725"/>
            <a:ext cx="29733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1: DSMO_and_W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2573A9D-8AD7-158A-2562-F67718AD00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778267"/>
              </p:ext>
            </p:extLst>
          </p:nvPr>
        </p:nvGraphicFramePr>
        <p:xfrm>
          <a:off x="2073215" y="1490713"/>
          <a:ext cx="7599870" cy="812800"/>
        </p:xfrm>
        <a:graphic>
          <a:graphicData uri="http://schemas.openxmlformats.org/drawingml/2006/table">
            <a:tbl>
              <a:tblPr/>
              <a:tblGrid>
                <a:gridCol w="1266645">
                  <a:extLst>
                    <a:ext uri="{9D8B030D-6E8A-4147-A177-3AD203B41FA5}">
                      <a16:colId xmlns:a16="http://schemas.microsoft.com/office/drawing/2014/main" val="2926631616"/>
                    </a:ext>
                  </a:extLst>
                </a:gridCol>
                <a:gridCol w="1266645">
                  <a:extLst>
                    <a:ext uri="{9D8B030D-6E8A-4147-A177-3AD203B41FA5}">
                      <a16:colId xmlns:a16="http://schemas.microsoft.com/office/drawing/2014/main" val="134139535"/>
                    </a:ext>
                  </a:extLst>
                </a:gridCol>
                <a:gridCol w="1266645">
                  <a:extLst>
                    <a:ext uri="{9D8B030D-6E8A-4147-A177-3AD203B41FA5}">
                      <a16:colId xmlns:a16="http://schemas.microsoft.com/office/drawing/2014/main" val="1140313806"/>
                    </a:ext>
                  </a:extLst>
                </a:gridCol>
                <a:gridCol w="1266645">
                  <a:extLst>
                    <a:ext uri="{9D8B030D-6E8A-4147-A177-3AD203B41FA5}">
                      <a16:colId xmlns:a16="http://schemas.microsoft.com/office/drawing/2014/main" val="3309116536"/>
                    </a:ext>
                  </a:extLst>
                </a:gridCol>
                <a:gridCol w="1266645">
                  <a:extLst>
                    <a:ext uri="{9D8B030D-6E8A-4147-A177-3AD203B41FA5}">
                      <a16:colId xmlns:a16="http://schemas.microsoft.com/office/drawing/2014/main" val="1369550369"/>
                    </a:ext>
                  </a:extLst>
                </a:gridCol>
                <a:gridCol w="1266645">
                  <a:extLst>
                    <a:ext uri="{9D8B030D-6E8A-4147-A177-3AD203B41FA5}">
                      <a16:colId xmlns:a16="http://schemas.microsoft.com/office/drawing/2014/main" val="299005961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.Nam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queI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gF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.Valu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j.P.Valu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71761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XM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1206.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Calibri" panose="020F0502020204030204" pitchFamily="34" charset="0"/>
                        </a:rPr>
                        <a:t>DMSO-CHX__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Calibri" panose="020F0502020204030204" pitchFamily="34" charset="0"/>
                        </a:rPr>
                        <a:t>vs_DMS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00FF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50191275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4E-0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5E-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593479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T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97386.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Calibri" panose="020F0502020204030204" pitchFamily="34" charset="0"/>
                        </a:rPr>
                        <a:t>DMSO-CHX__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Calibri" panose="020F0502020204030204" pitchFamily="34" charset="0"/>
                        </a:rPr>
                        <a:t>vs_DMS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00FF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1432639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3E-2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1E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270345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H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3318.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Calibri" panose="020F0502020204030204" pitchFamily="34" charset="0"/>
                        </a:rPr>
                        <a:t>DMSO-CHX__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Calibri" panose="020F0502020204030204" pitchFamily="34" charset="0"/>
                        </a:rPr>
                        <a:t>vs_DMS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00FF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3802407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090903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419407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7270076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25D421D-1F33-1E7C-EB34-FA4E2398A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1771963"/>
              </p:ext>
            </p:extLst>
          </p:nvPr>
        </p:nvGraphicFramePr>
        <p:xfrm>
          <a:off x="2286120" y="2657490"/>
          <a:ext cx="7645758" cy="1345169"/>
        </p:xfrm>
        <a:graphic>
          <a:graphicData uri="http://schemas.openxmlformats.org/drawingml/2006/table">
            <a:tbl>
              <a:tblPr/>
              <a:tblGrid>
                <a:gridCol w="804330">
                  <a:extLst>
                    <a:ext uri="{9D8B030D-6E8A-4147-A177-3AD203B41FA5}">
                      <a16:colId xmlns:a16="http://schemas.microsoft.com/office/drawing/2014/main" val="2286879546"/>
                    </a:ext>
                  </a:extLst>
                </a:gridCol>
                <a:gridCol w="1521807">
                  <a:extLst>
                    <a:ext uri="{9D8B030D-6E8A-4147-A177-3AD203B41FA5}">
                      <a16:colId xmlns:a16="http://schemas.microsoft.com/office/drawing/2014/main" val="461474008"/>
                    </a:ext>
                  </a:extLst>
                </a:gridCol>
                <a:gridCol w="1886309">
                  <a:extLst>
                    <a:ext uri="{9D8B030D-6E8A-4147-A177-3AD203B41FA5}">
                      <a16:colId xmlns:a16="http://schemas.microsoft.com/office/drawing/2014/main" val="2022148517"/>
                    </a:ext>
                  </a:extLst>
                </a:gridCol>
                <a:gridCol w="1541253">
                  <a:extLst>
                    <a:ext uri="{9D8B030D-6E8A-4147-A177-3AD203B41FA5}">
                      <a16:colId xmlns:a16="http://schemas.microsoft.com/office/drawing/2014/main" val="200308121"/>
                    </a:ext>
                  </a:extLst>
                </a:gridCol>
                <a:gridCol w="1087729">
                  <a:extLst>
                    <a:ext uri="{9D8B030D-6E8A-4147-A177-3AD203B41FA5}">
                      <a16:colId xmlns:a16="http://schemas.microsoft.com/office/drawing/2014/main" val="3534553720"/>
                    </a:ext>
                  </a:extLst>
                </a:gridCol>
                <a:gridCol w="804330">
                  <a:extLst>
                    <a:ext uri="{9D8B030D-6E8A-4147-A177-3AD203B41FA5}">
                      <a16:colId xmlns:a16="http://schemas.microsoft.com/office/drawing/2014/main" val="2955773448"/>
                    </a:ext>
                  </a:extLst>
                </a:gridCol>
              </a:tblGrid>
              <a:tr h="1921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.Nam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queI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gF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.Valu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j.P.Valu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6740534"/>
                  </a:ext>
                </a:extLst>
              </a:tr>
              <a:tr h="1921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XM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1206.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U1-WT100-EtOH_vs_DMS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0463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791417"/>
                  </a:ext>
                </a:extLst>
              </a:tr>
              <a:tr h="1921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T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97386.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U1-WT100-EtOH_vs_DMS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57199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2201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086626"/>
                  </a:ext>
                </a:extLst>
              </a:tr>
              <a:tr h="1921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H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3318.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U1-WT100-EtOH_vs_DMS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1971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3050296"/>
                  </a:ext>
                </a:extLst>
              </a:tr>
              <a:tr h="1921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XM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1206.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Calibri" panose="020F0502020204030204" pitchFamily="34" charset="0"/>
                        </a:rPr>
                        <a:t>U1-WT500-EtOH_vs_DMS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26543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1341197"/>
                  </a:ext>
                </a:extLst>
              </a:tr>
              <a:tr h="1921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T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97386.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Calibri" panose="020F0502020204030204" pitchFamily="34" charset="0"/>
                        </a:rPr>
                        <a:t>U1-WT500-EtOH_vs_DMS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9178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5942659"/>
                  </a:ext>
                </a:extLst>
              </a:tr>
              <a:tr h="1921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H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3318.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Calibri" panose="020F0502020204030204" pitchFamily="34" charset="0"/>
                        </a:rPr>
                        <a:t>U1-WT500-EtOH_vs_DMS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54274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299036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60DB941-914B-2923-B43F-6BCF57CCE3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4178680"/>
              </p:ext>
            </p:extLst>
          </p:nvPr>
        </p:nvGraphicFramePr>
        <p:xfrm>
          <a:off x="914400" y="1049248"/>
          <a:ext cx="9299274" cy="3363862"/>
        </p:xfrm>
        <a:graphic>
          <a:graphicData uri="http://schemas.openxmlformats.org/drawingml/2006/table">
            <a:tbl>
              <a:tblPr/>
              <a:tblGrid>
                <a:gridCol w="1549879">
                  <a:extLst>
                    <a:ext uri="{9D8B030D-6E8A-4147-A177-3AD203B41FA5}">
                      <a16:colId xmlns:a16="http://schemas.microsoft.com/office/drawing/2014/main" val="3870782637"/>
                    </a:ext>
                  </a:extLst>
                </a:gridCol>
                <a:gridCol w="1549879">
                  <a:extLst>
                    <a:ext uri="{9D8B030D-6E8A-4147-A177-3AD203B41FA5}">
                      <a16:colId xmlns:a16="http://schemas.microsoft.com/office/drawing/2014/main" val="307642100"/>
                    </a:ext>
                  </a:extLst>
                </a:gridCol>
                <a:gridCol w="1549879">
                  <a:extLst>
                    <a:ext uri="{9D8B030D-6E8A-4147-A177-3AD203B41FA5}">
                      <a16:colId xmlns:a16="http://schemas.microsoft.com/office/drawing/2014/main" val="2623351860"/>
                    </a:ext>
                  </a:extLst>
                </a:gridCol>
                <a:gridCol w="1549879">
                  <a:extLst>
                    <a:ext uri="{9D8B030D-6E8A-4147-A177-3AD203B41FA5}">
                      <a16:colId xmlns:a16="http://schemas.microsoft.com/office/drawing/2014/main" val="7598171"/>
                    </a:ext>
                  </a:extLst>
                </a:gridCol>
                <a:gridCol w="1549879">
                  <a:extLst>
                    <a:ext uri="{9D8B030D-6E8A-4147-A177-3AD203B41FA5}">
                      <a16:colId xmlns:a16="http://schemas.microsoft.com/office/drawing/2014/main" val="2222055626"/>
                    </a:ext>
                  </a:extLst>
                </a:gridCol>
                <a:gridCol w="1549879">
                  <a:extLst>
                    <a:ext uri="{9D8B030D-6E8A-4147-A177-3AD203B41FA5}">
                      <a16:colId xmlns:a16="http://schemas.microsoft.com/office/drawing/2014/main" val="2610244015"/>
                    </a:ext>
                  </a:extLst>
                </a:gridCol>
              </a:tblGrid>
              <a:tr h="14566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.Name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queID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gFC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.Value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j.P.Value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9301283"/>
                  </a:ext>
                </a:extLst>
              </a:tr>
              <a:tr h="5312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XM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1206.13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1-mut1-100-EtOH_vs_DMSO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1555806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1895561"/>
                  </a:ext>
                </a:extLst>
              </a:tr>
              <a:tr h="5312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TT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97386.12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1-mut1-100-EtOH_vs_DMSO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28013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248559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3020140"/>
                  </a:ext>
                </a:extLst>
              </a:tr>
              <a:tr h="5312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H3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3318.1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1-mut1-100-EtOH_vs_DMSO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33921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8187222"/>
                  </a:ext>
                </a:extLst>
              </a:tr>
              <a:tr h="5312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XM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1206.13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1-mut1-100-CHX_vs_DMSO-CHX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282535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3652648"/>
                  </a:ext>
                </a:extLst>
              </a:tr>
              <a:tr h="5312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TT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97386.12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1-mut1-100-CHX_vs_DMSO-CHX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070442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3622893"/>
                  </a:ext>
                </a:extLst>
              </a:tr>
              <a:tr h="5312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H3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G00000113318.1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1-mut1-100-CHX_vs_DMSO-CHX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106693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914" marR="8914" marT="89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443322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TextBox 3">
            <a:extLst>
              <a:ext uri="{FF2B5EF4-FFF2-40B4-BE49-F238E27FC236}">
                <a16:creationId xmlns:a16="http://schemas.microsoft.com/office/drawing/2014/main" id="{C956872E-C5F6-0BDB-03A7-E4EA50BFF4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163" y="277813"/>
            <a:ext cx="4818062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1: DSMO_and_WT</a:t>
            </a:r>
          </a:p>
          <a:p>
            <a:pPr eaLnBrk="1" hangingPunct="1"/>
            <a:r>
              <a:rPr lang="en-US" altLang="en-US"/>
              <a:t>WT-100 and WT-500 has no or nearly no effect in </a:t>
            </a:r>
          </a:p>
          <a:p>
            <a:pPr eaLnBrk="1" hangingPunct="1"/>
            <a:r>
              <a:rPr lang="en-US" altLang="en-US"/>
              <a:t>DEG transcription:</a:t>
            </a:r>
          </a:p>
          <a:p>
            <a:pPr eaLnBrk="1" hangingPunct="1"/>
            <a:r>
              <a:rPr lang="en-US" altLang="en-US"/>
              <a:t>VS DMSO and DMSO-CHX</a:t>
            </a:r>
          </a:p>
        </p:txBody>
      </p:sp>
      <p:pic>
        <p:nvPicPr>
          <p:cNvPr id="2050" name="Picture 9">
            <a:extLst>
              <a:ext uri="{FF2B5EF4-FFF2-40B4-BE49-F238E27FC236}">
                <a16:creationId xmlns:a16="http://schemas.microsoft.com/office/drawing/2014/main" id="{2E57EF3B-8A60-CE9B-AA12-567723203A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00213" y="1658938"/>
            <a:ext cx="6400801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17" descr="A graph of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FBB8B735-EA68-01B0-FAEA-5567287BE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588" y="1012825"/>
            <a:ext cx="6572250" cy="581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3" name="Picture 7">
            <a:extLst>
              <a:ext uri="{FF2B5EF4-FFF2-40B4-BE49-F238E27FC236}">
                <a16:creationId xmlns:a16="http://schemas.microsoft.com/office/drawing/2014/main" id="{8258AEDC-B7FE-2E8A-41CD-4955D17813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60488" y="1271588"/>
            <a:ext cx="6400801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4A6D194-D76D-8C1B-1541-EAB4B6A7CF94}"/>
              </a:ext>
            </a:extLst>
          </p:cNvPr>
          <p:cNvSpPr/>
          <p:nvPr/>
        </p:nvSpPr>
        <p:spPr>
          <a:xfrm>
            <a:off x="3338513" y="4411663"/>
            <a:ext cx="254000" cy="52546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36BE5A8-8AAA-5F10-E085-80AC1D904008}"/>
              </a:ext>
            </a:extLst>
          </p:cNvPr>
          <p:cNvSpPr/>
          <p:nvPr/>
        </p:nvSpPr>
        <p:spPr>
          <a:xfrm>
            <a:off x="3797300" y="4411663"/>
            <a:ext cx="254000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3083" name="TextBox 20">
            <a:extLst>
              <a:ext uri="{FF2B5EF4-FFF2-40B4-BE49-F238E27FC236}">
                <a16:creationId xmlns:a16="http://schemas.microsoft.com/office/drawing/2014/main" id="{7AABA583-1DD3-EFD3-3AFC-F4F99A18EB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228600"/>
            <a:ext cx="70897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EG-Group2: WT_mut1</a:t>
            </a:r>
          </a:p>
          <a:p>
            <a:pPr eaLnBrk="1" hangingPunct="1"/>
            <a:r>
              <a:rPr lang="en-US" altLang="en-US" dirty="0"/>
              <a:t>mut1-500 causes DEG transcription, majority of them are through NMD</a:t>
            </a:r>
          </a:p>
          <a:p>
            <a:pPr eaLnBrk="1" hangingPunct="1"/>
            <a:r>
              <a:rPr lang="en-US" altLang="en-US" dirty="0"/>
              <a:t>VS DMSO and DMSO-CHX  while Mut1-100 has very week effects</a:t>
            </a:r>
          </a:p>
        </p:txBody>
      </p:sp>
      <p:pic>
        <p:nvPicPr>
          <p:cNvPr id="3" name="Picture 2" descr="A graph of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8C9D1CA7-4466-B8E7-C27E-89F444DB7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493380"/>
            <a:ext cx="5561685" cy="514970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A070128-8200-3AF0-DBC1-46AE67A8DA72}"/>
              </a:ext>
            </a:extLst>
          </p:cNvPr>
          <p:cNvSpPr/>
          <p:nvPr/>
        </p:nvSpPr>
        <p:spPr>
          <a:xfrm>
            <a:off x="9739314" y="1463851"/>
            <a:ext cx="182685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903573-D983-9F45-F84C-CEDCDE18051B}"/>
              </a:ext>
            </a:extLst>
          </p:cNvPr>
          <p:cNvSpPr/>
          <p:nvPr/>
        </p:nvSpPr>
        <p:spPr>
          <a:xfrm rot="5400000">
            <a:off x="8845477" y="2035248"/>
            <a:ext cx="208083" cy="601184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07573C-78EE-BDF0-1168-264F5B1004FF}"/>
              </a:ext>
            </a:extLst>
          </p:cNvPr>
          <p:cNvSpPr/>
          <p:nvPr/>
        </p:nvSpPr>
        <p:spPr>
          <a:xfrm rot="5400000">
            <a:off x="8845476" y="2284187"/>
            <a:ext cx="208083" cy="6011840"/>
          </a:xfrm>
          <a:prstGeom prst="rect">
            <a:avLst/>
          </a:prstGeom>
          <a:noFill/>
          <a:ln w="12700">
            <a:solidFill>
              <a:srgbClr val="0067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chemeClr val="accent6">
                  <a:lumMod val="75000"/>
                </a:schemeClr>
              </a:solidFill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282A86-BC43-88E9-15A1-D19F55469F8E}"/>
              </a:ext>
            </a:extLst>
          </p:cNvPr>
          <p:cNvSpPr/>
          <p:nvPr/>
        </p:nvSpPr>
        <p:spPr>
          <a:xfrm>
            <a:off x="8786444" y="1580794"/>
            <a:ext cx="150814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E6E10B0-C0A9-0BED-1B4F-B4170BADC731}"/>
              </a:ext>
            </a:extLst>
          </p:cNvPr>
          <p:cNvSpPr/>
          <p:nvPr/>
        </p:nvSpPr>
        <p:spPr>
          <a:xfrm rot="5400000">
            <a:off x="8307261" y="2397613"/>
            <a:ext cx="208086" cy="6564923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DE0D05F-333F-9214-1AF9-4CE117617BB6}"/>
              </a:ext>
            </a:extLst>
          </p:cNvPr>
          <p:cNvSpPr/>
          <p:nvPr/>
        </p:nvSpPr>
        <p:spPr>
          <a:xfrm rot="5400000">
            <a:off x="8307259" y="2144156"/>
            <a:ext cx="208085" cy="6564925"/>
          </a:xfrm>
          <a:prstGeom prst="rect">
            <a:avLst/>
          </a:prstGeom>
          <a:noFill/>
          <a:ln w="12700">
            <a:solidFill>
              <a:srgbClr val="0067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ABB473-7FDA-EE46-97D4-CEFD912714D4}"/>
              </a:ext>
            </a:extLst>
          </p:cNvPr>
          <p:cNvSpPr/>
          <p:nvPr/>
        </p:nvSpPr>
        <p:spPr>
          <a:xfrm rot="5400000">
            <a:off x="8307259" y="1890700"/>
            <a:ext cx="208085" cy="6564927"/>
          </a:xfrm>
          <a:prstGeom prst="rect">
            <a:avLst/>
          </a:prstGeom>
          <a:noFill/>
          <a:ln w="127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rgbClr val="1206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9BAB72-FCCA-AC0A-27C2-07CC74E53536}"/>
              </a:ext>
            </a:extLst>
          </p:cNvPr>
          <p:cNvSpPr/>
          <p:nvPr/>
        </p:nvSpPr>
        <p:spPr>
          <a:xfrm>
            <a:off x="8937258" y="1580794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6DF12FC-2F83-3CCE-5CA8-948E0AAE2114}"/>
              </a:ext>
            </a:extLst>
          </p:cNvPr>
          <p:cNvSpPr/>
          <p:nvPr/>
        </p:nvSpPr>
        <p:spPr>
          <a:xfrm>
            <a:off x="9073658" y="1580793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3574BC-9E90-1651-7468-66D6F6C1BADE}"/>
              </a:ext>
            </a:extLst>
          </p:cNvPr>
          <p:cNvSpPr/>
          <p:nvPr/>
        </p:nvSpPr>
        <p:spPr>
          <a:xfrm rot="5400000">
            <a:off x="8307259" y="1637245"/>
            <a:ext cx="208085" cy="6564927"/>
          </a:xfrm>
          <a:prstGeom prst="rect">
            <a:avLst/>
          </a:prstGeom>
          <a:noFill/>
          <a:ln w="12700">
            <a:solidFill>
              <a:srgbClr val="BF9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rgbClr val="1206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424F3E-1349-6641-1B9A-F0E603FAF6D2}"/>
              </a:ext>
            </a:extLst>
          </p:cNvPr>
          <p:cNvSpPr/>
          <p:nvPr/>
        </p:nvSpPr>
        <p:spPr>
          <a:xfrm>
            <a:off x="2843207" y="4411663"/>
            <a:ext cx="200025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EDF6D7-BEE8-B04C-3AFF-44BF26CC44B9}"/>
              </a:ext>
            </a:extLst>
          </p:cNvPr>
          <p:cNvSpPr/>
          <p:nvPr/>
        </p:nvSpPr>
        <p:spPr>
          <a:xfrm>
            <a:off x="3243257" y="4411663"/>
            <a:ext cx="200025" cy="525462"/>
          </a:xfrm>
          <a:prstGeom prst="rect">
            <a:avLst/>
          </a:prstGeom>
          <a:noFill/>
          <a:ln w="1905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C785F1-39A0-EE5E-730E-100CDDA678A8}"/>
              </a:ext>
            </a:extLst>
          </p:cNvPr>
          <p:cNvSpPr/>
          <p:nvPr/>
        </p:nvSpPr>
        <p:spPr>
          <a:xfrm>
            <a:off x="2424107" y="4416425"/>
            <a:ext cx="198437" cy="5238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91A9DE6-57AB-2B91-972A-6149B38221E7}"/>
              </a:ext>
            </a:extLst>
          </p:cNvPr>
          <p:cNvSpPr/>
          <p:nvPr/>
        </p:nvSpPr>
        <p:spPr>
          <a:xfrm>
            <a:off x="3662357" y="4411663"/>
            <a:ext cx="200025" cy="525462"/>
          </a:xfrm>
          <a:prstGeom prst="rect">
            <a:avLst/>
          </a:prstGeom>
          <a:noFill/>
          <a:ln w="19050">
            <a:solidFill>
              <a:srgbClr val="BF9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C238A61-461C-9A9E-6261-B3D138DDBBCB}"/>
              </a:ext>
            </a:extLst>
          </p:cNvPr>
          <p:cNvSpPr/>
          <p:nvPr/>
        </p:nvSpPr>
        <p:spPr>
          <a:xfrm>
            <a:off x="9210058" y="1580793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TextBox 3">
            <a:extLst>
              <a:ext uri="{FF2B5EF4-FFF2-40B4-BE49-F238E27FC236}">
                <a16:creationId xmlns:a16="http://schemas.microsoft.com/office/drawing/2014/main" id="{C956872E-C5F6-0BDB-03A7-E4EA50BFF4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163" y="277813"/>
            <a:ext cx="4818062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1: DSMO_and_WT</a:t>
            </a:r>
          </a:p>
          <a:p>
            <a:pPr eaLnBrk="1" hangingPunct="1"/>
            <a:r>
              <a:rPr lang="en-US" altLang="en-US"/>
              <a:t>WT-100 and WT-500 has no or nearly no effect in </a:t>
            </a:r>
          </a:p>
          <a:p>
            <a:pPr eaLnBrk="1" hangingPunct="1"/>
            <a:r>
              <a:rPr lang="en-US" altLang="en-US"/>
              <a:t>DEG transcription:</a:t>
            </a:r>
          </a:p>
          <a:p>
            <a:pPr eaLnBrk="1" hangingPunct="1"/>
            <a:r>
              <a:rPr lang="en-US" altLang="en-US"/>
              <a:t>VS DMSO and DMSO-CHX</a:t>
            </a:r>
          </a:p>
        </p:txBody>
      </p:sp>
      <p:pic>
        <p:nvPicPr>
          <p:cNvPr id="2050" name="Picture 9">
            <a:extLst>
              <a:ext uri="{FF2B5EF4-FFF2-40B4-BE49-F238E27FC236}">
                <a16:creationId xmlns:a16="http://schemas.microsoft.com/office/drawing/2014/main" id="{2E57EF3B-8A60-CE9B-AA12-567723203A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00213" y="1658938"/>
            <a:ext cx="6400801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17" descr="A graph of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FBB8B735-EA68-01B0-FAEA-5567287BE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588" y="1012825"/>
            <a:ext cx="6572250" cy="581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15523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3" name="Picture 7">
            <a:extLst>
              <a:ext uri="{FF2B5EF4-FFF2-40B4-BE49-F238E27FC236}">
                <a16:creationId xmlns:a16="http://schemas.microsoft.com/office/drawing/2014/main" id="{8258AEDC-B7FE-2E8A-41CD-4955D17813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60488" y="1271588"/>
            <a:ext cx="6400801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9" descr="A graph of a game graph&#10;&#10;Description automatically generated with medium confidence">
            <a:extLst>
              <a:ext uri="{FF2B5EF4-FFF2-40B4-BE49-F238E27FC236}">
                <a16:creationId xmlns:a16="http://schemas.microsoft.com/office/drawing/2014/main" id="{3B29DFFA-61BB-0C1D-C55E-873272755F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238" y="530225"/>
            <a:ext cx="6977062" cy="563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3496359-85F2-5CB8-51F2-AAD7E75C3EAE}"/>
              </a:ext>
            </a:extLst>
          </p:cNvPr>
          <p:cNvSpPr/>
          <p:nvPr/>
        </p:nvSpPr>
        <p:spPr>
          <a:xfrm>
            <a:off x="8556625" y="1676400"/>
            <a:ext cx="90488" cy="4740275"/>
          </a:xfrm>
          <a:prstGeom prst="rect">
            <a:avLst/>
          </a:prstGeom>
          <a:noFill/>
          <a:ln w="127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A6D194-D76D-8C1B-1541-EAB4B6A7CF94}"/>
              </a:ext>
            </a:extLst>
          </p:cNvPr>
          <p:cNvSpPr/>
          <p:nvPr/>
        </p:nvSpPr>
        <p:spPr>
          <a:xfrm>
            <a:off x="3338513" y="4411663"/>
            <a:ext cx="254000" cy="52546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0E5FFE-1087-4CE8-8887-B49A26E67851}"/>
              </a:ext>
            </a:extLst>
          </p:cNvPr>
          <p:cNvSpPr/>
          <p:nvPr/>
        </p:nvSpPr>
        <p:spPr>
          <a:xfrm rot="5400000">
            <a:off x="9013825" y="1906588"/>
            <a:ext cx="185738" cy="6170612"/>
          </a:xfrm>
          <a:prstGeom prst="rect">
            <a:avLst/>
          </a:prstGeom>
          <a:noFill/>
          <a:ln w="127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2536004-5A50-7884-701E-96156BF9D893}"/>
              </a:ext>
            </a:extLst>
          </p:cNvPr>
          <p:cNvSpPr/>
          <p:nvPr/>
        </p:nvSpPr>
        <p:spPr>
          <a:xfrm rot="5400000">
            <a:off x="9050337" y="2066926"/>
            <a:ext cx="112713" cy="617061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36BE5A8-8AAA-5F10-E085-80AC1D904008}"/>
              </a:ext>
            </a:extLst>
          </p:cNvPr>
          <p:cNvSpPr/>
          <p:nvPr/>
        </p:nvSpPr>
        <p:spPr>
          <a:xfrm>
            <a:off x="3797300" y="4411663"/>
            <a:ext cx="254000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E5070E-FC97-D97C-09BB-F5674179E91C}"/>
              </a:ext>
            </a:extLst>
          </p:cNvPr>
          <p:cNvSpPr/>
          <p:nvPr/>
        </p:nvSpPr>
        <p:spPr>
          <a:xfrm rot="5400000">
            <a:off x="9051131" y="2189957"/>
            <a:ext cx="111125" cy="6170612"/>
          </a:xfrm>
          <a:prstGeom prst="rect">
            <a:avLst/>
          </a:prstGeom>
          <a:noFill/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47E638A-5984-25CA-3FCD-49AB330FF4F8}"/>
              </a:ext>
            </a:extLst>
          </p:cNvPr>
          <p:cNvSpPr/>
          <p:nvPr/>
        </p:nvSpPr>
        <p:spPr>
          <a:xfrm>
            <a:off x="8645525" y="1676400"/>
            <a:ext cx="90488" cy="4740275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ADFDFE4-4B27-0B96-F0B3-7A998F5526BD}"/>
              </a:ext>
            </a:extLst>
          </p:cNvPr>
          <p:cNvSpPr/>
          <p:nvPr/>
        </p:nvSpPr>
        <p:spPr>
          <a:xfrm>
            <a:off x="10533063" y="1676400"/>
            <a:ext cx="90487" cy="4740275"/>
          </a:xfrm>
          <a:prstGeom prst="rect">
            <a:avLst/>
          </a:prstGeom>
          <a:noFill/>
          <a:ln w="12700">
            <a:solidFill>
              <a:srgbClr val="AC6EF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3083" name="TextBox 20">
            <a:extLst>
              <a:ext uri="{FF2B5EF4-FFF2-40B4-BE49-F238E27FC236}">
                <a16:creationId xmlns:a16="http://schemas.microsoft.com/office/drawing/2014/main" id="{7AABA583-1DD3-EFD3-3AFC-F4F99A18EB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228600"/>
            <a:ext cx="70897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1: WT_mut1</a:t>
            </a:r>
          </a:p>
          <a:p>
            <a:pPr eaLnBrk="1" hangingPunct="1"/>
            <a:r>
              <a:rPr lang="en-US" altLang="en-US"/>
              <a:t>mut1-500 causes DEG transcription, majority of them are through NMD</a:t>
            </a:r>
          </a:p>
          <a:p>
            <a:pPr eaLnBrk="1" hangingPunct="1"/>
            <a:r>
              <a:rPr lang="en-US" altLang="en-US"/>
              <a:t>VS DMSO and DMSO-CHX  while Mut1-100 has very week effects</a:t>
            </a:r>
          </a:p>
        </p:txBody>
      </p:sp>
    </p:spTree>
    <p:extLst>
      <p:ext uri="{BB962C8B-B14F-4D97-AF65-F5344CB8AC3E}">
        <p14:creationId xmlns:p14="http://schemas.microsoft.com/office/powerpoint/2010/main" val="42147751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7">
            <a:extLst>
              <a:ext uri="{FF2B5EF4-FFF2-40B4-BE49-F238E27FC236}">
                <a16:creationId xmlns:a16="http://schemas.microsoft.com/office/drawing/2014/main" id="{E34E7951-F671-DBEE-A8EC-9B12D02E69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22375" y="1257300"/>
            <a:ext cx="6211888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9" descr="A graph of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93036F34-DE22-1463-C4FB-869D4EF455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650" y="520700"/>
            <a:ext cx="6980238" cy="5641975"/>
          </a:xfrm>
          <a:prstGeom prst="rect">
            <a:avLst/>
          </a:prstGeom>
          <a:noFill/>
          <a:ln w="9525">
            <a:solidFill>
              <a:srgbClr val="00B0F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EE2469B-8F1F-A877-5EEB-0D4EFB319EBB}"/>
              </a:ext>
            </a:extLst>
          </p:cNvPr>
          <p:cNvSpPr/>
          <p:nvPr/>
        </p:nvSpPr>
        <p:spPr>
          <a:xfrm>
            <a:off x="8556625" y="1676400"/>
            <a:ext cx="90488" cy="4740275"/>
          </a:xfrm>
          <a:prstGeom prst="rect">
            <a:avLst/>
          </a:prstGeom>
          <a:noFill/>
          <a:ln w="127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2652538-4B4C-C3EB-6425-D57CA0A97D05}"/>
              </a:ext>
            </a:extLst>
          </p:cNvPr>
          <p:cNvSpPr/>
          <p:nvPr/>
        </p:nvSpPr>
        <p:spPr>
          <a:xfrm>
            <a:off x="3338513" y="4411663"/>
            <a:ext cx="254000" cy="52546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237E64-67C5-500F-FBF6-FE0EA60BABE3}"/>
              </a:ext>
            </a:extLst>
          </p:cNvPr>
          <p:cNvSpPr/>
          <p:nvPr/>
        </p:nvSpPr>
        <p:spPr>
          <a:xfrm rot="5400000">
            <a:off x="9013825" y="1906588"/>
            <a:ext cx="185738" cy="6170612"/>
          </a:xfrm>
          <a:prstGeom prst="rect">
            <a:avLst/>
          </a:prstGeom>
          <a:noFill/>
          <a:ln w="127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4D01F4-5F2E-2520-3C0F-AC203AC34282}"/>
              </a:ext>
            </a:extLst>
          </p:cNvPr>
          <p:cNvSpPr/>
          <p:nvPr/>
        </p:nvSpPr>
        <p:spPr>
          <a:xfrm>
            <a:off x="3797300" y="4411663"/>
            <a:ext cx="254000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754CF47-3536-1A81-FE99-D046F4ADE887}"/>
              </a:ext>
            </a:extLst>
          </p:cNvPr>
          <p:cNvSpPr/>
          <p:nvPr/>
        </p:nvSpPr>
        <p:spPr>
          <a:xfrm rot="5400000">
            <a:off x="9051131" y="2189957"/>
            <a:ext cx="111125" cy="6170612"/>
          </a:xfrm>
          <a:prstGeom prst="rect">
            <a:avLst/>
          </a:prstGeom>
          <a:noFill/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319A52-C8B3-C747-9B96-3DFA062E33D6}"/>
              </a:ext>
            </a:extLst>
          </p:cNvPr>
          <p:cNvSpPr/>
          <p:nvPr/>
        </p:nvSpPr>
        <p:spPr>
          <a:xfrm>
            <a:off x="8751888" y="1676400"/>
            <a:ext cx="90487" cy="4740275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105" name="TextBox 16">
            <a:extLst>
              <a:ext uri="{FF2B5EF4-FFF2-40B4-BE49-F238E27FC236}">
                <a16:creationId xmlns:a16="http://schemas.microsoft.com/office/drawing/2014/main" id="{80632205-89BF-CCA7-C292-E827E2D206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563" y="241300"/>
            <a:ext cx="708977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1: WT_mut2</a:t>
            </a:r>
          </a:p>
          <a:p>
            <a:pPr eaLnBrk="1" hangingPunct="1"/>
            <a:r>
              <a:rPr lang="en-US" altLang="en-US"/>
              <a:t>mut2-500 causes few DEG transcription, majority of them are through NMD</a:t>
            </a:r>
          </a:p>
          <a:p>
            <a:pPr eaLnBrk="1" hangingPunct="1"/>
            <a:r>
              <a:rPr lang="en-US" altLang="en-US"/>
              <a:t> VS DMSO and DMSO-CHX  while Mut1-100 has no effec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21C526F-5903-E37C-AE44-52CBAFE30B88}"/>
              </a:ext>
            </a:extLst>
          </p:cNvPr>
          <p:cNvSpPr/>
          <p:nvPr/>
        </p:nvSpPr>
        <p:spPr>
          <a:xfrm>
            <a:off x="10960100" y="1676400"/>
            <a:ext cx="90488" cy="4740275"/>
          </a:xfrm>
          <a:prstGeom prst="rect">
            <a:avLst/>
          </a:prstGeom>
          <a:noFill/>
          <a:ln w="12700">
            <a:solidFill>
              <a:srgbClr val="AC6EF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C0A907-32CB-13CB-FBEE-DAAA3C6C4757}"/>
              </a:ext>
            </a:extLst>
          </p:cNvPr>
          <p:cNvSpPr/>
          <p:nvPr/>
        </p:nvSpPr>
        <p:spPr>
          <a:xfrm rot="5400000">
            <a:off x="9050337" y="2066926"/>
            <a:ext cx="112713" cy="617061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17082896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TextBox 3">
            <a:extLst>
              <a:ext uri="{FF2B5EF4-FFF2-40B4-BE49-F238E27FC236}">
                <a16:creationId xmlns:a16="http://schemas.microsoft.com/office/drawing/2014/main" id="{F422A590-288E-3797-29E5-C9904B75C7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0850" y="466725"/>
            <a:ext cx="498316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4: BIO5127_and_mut1_mut2</a:t>
            </a:r>
          </a:p>
          <a:p>
            <a:pPr eaLnBrk="1" hangingPunct="1"/>
            <a:r>
              <a:rPr lang="en-US" altLang="en-US"/>
              <a:t>BIO5127 are less different from mut2 than muta1</a:t>
            </a:r>
          </a:p>
        </p:txBody>
      </p:sp>
      <p:pic>
        <p:nvPicPr>
          <p:cNvPr id="5122" name="Picture 7">
            <a:extLst>
              <a:ext uri="{FF2B5EF4-FFF2-40B4-BE49-F238E27FC236}">
                <a16:creationId xmlns:a16="http://schemas.microsoft.com/office/drawing/2014/main" id="{708521B5-A6C7-3101-509E-01F668B04A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913" y="1177925"/>
            <a:ext cx="6400801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9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34F65ACD-4A01-2F0E-B601-33CE460E8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313" y="803275"/>
            <a:ext cx="6884987" cy="530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0443EC8-4CA5-71E0-A271-1F974346D60B}"/>
              </a:ext>
            </a:extLst>
          </p:cNvPr>
          <p:cNvSpPr/>
          <p:nvPr/>
        </p:nvSpPr>
        <p:spPr>
          <a:xfrm>
            <a:off x="8326438" y="1676400"/>
            <a:ext cx="90487" cy="4740275"/>
          </a:xfrm>
          <a:prstGeom prst="rect">
            <a:avLst/>
          </a:prstGeom>
          <a:noFill/>
          <a:ln w="127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A50BAE2-2895-2119-6E60-A609FAA727E4}"/>
              </a:ext>
            </a:extLst>
          </p:cNvPr>
          <p:cNvSpPr/>
          <p:nvPr/>
        </p:nvSpPr>
        <p:spPr>
          <a:xfrm>
            <a:off x="3338513" y="4411663"/>
            <a:ext cx="198437" cy="52546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F611FC3-1733-3BC5-EDB0-952848C66D11}"/>
              </a:ext>
            </a:extLst>
          </p:cNvPr>
          <p:cNvSpPr/>
          <p:nvPr/>
        </p:nvSpPr>
        <p:spPr>
          <a:xfrm rot="5400000">
            <a:off x="9068594" y="2504282"/>
            <a:ext cx="76200" cy="6170612"/>
          </a:xfrm>
          <a:prstGeom prst="rect">
            <a:avLst/>
          </a:prstGeom>
          <a:noFill/>
          <a:ln w="127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EA6446-FDCD-A5F8-7BDB-61EC22A5EA40}"/>
              </a:ext>
            </a:extLst>
          </p:cNvPr>
          <p:cNvSpPr/>
          <p:nvPr/>
        </p:nvSpPr>
        <p:spPr>
          <a:xfrm>
            <a:off x="3757613" y="4411663"/>
            <a:ext cx="200025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406405-1D05-9D7C-AF52-0A22956534D6}"/>
              </a:ext>
            </a:extLst>
          </p:cNvPr>
          <p:cNvSpPr/>
          <p:nvPr/>
        </p:nvSpPr>
        <p:spPr>
          <a:xfrm rot="5400000">
            <a:off x="9068594" y="2420144"/>
            <a:ext cx="76200" cy="6170612"/>
          </a:xfrm>
          <a:prstGeom prst="rect">
            <a:avLst/>
          </a:prstGeom>
          <a:noFill/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3EA555-8F64-A9F5-D515-AFB7B66ADEE8}"/>
              </a:ext>
            </a:extLst>
          </p:cNvPr>
          <p:cNvSpPr/>
          <p:nvPr/>
        </p:nvSpPr>
        <p:spPr>
          <a:xfrm>
            <a:off x="8420100" y="1676400"/>
            <a:ext cx="90488" cy="4740275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5A02DB-F433-0ACF-67EC-9EF81346E15E}"/>
              </a:ext>
            </a:extLst>
          </p:cNvPr>
          <p:cNvSpPr/>
          <p:nvPr/>
        </p:nvSpPr>
        <p:spPr>
          <a:xfrm>
            <a:off x="8510588" y="1676400"/>
            <a:ext cx="90487" cy="4740275"/>
          </a:xfrm>
          <a:prstGeom prst="rect">
            <a:avLst/>
          </a:prstGeom>
          <a:noFill/>
          <a:ln w="12700">
            <a:solidFill>
              <a:srgbClr val="AC6EF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C7FCAA-7C7C-B238-B251-5057A44B0339}"/>
              </a:ext>
            </a:extLst>
          </p:cNvPr>
          <p:cNvSpPr/>
          <p:nvPr/>
        </p:nvSpPr>
        <p:spPr>
          <a:xfrm rot="5400000">
            <a:off x="9068594" y="2594769"/>
            <a:ext cx="76200" cy="617061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AEA5CC-A682-5FB1-A8BD-7B9B64CA1AC2}"/>
              </a:ext>
            </a:extLst>
          </p:cNvPr>
          <p:cNvSpPr/>
          <p:nvPr/>
        </p:nvSpPr>
        <p:spPr>
          <a:xfrm>
            <a:off x="4157663" y="4411663"/>
            <a:ext cx="200025" cy="525462"/>
          </a:xfrm>
          <a:prstGeom prst="rect">
            <a:avLst/>
          </a:prstGeom>
          <a:noFill/>
          <a:ln w="1905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57CE24-1CF9-380C-639A-D66E8F49B752}"/>
              </a:ext>
            </a:extLst>
          </p:cNvPr>
          <p:cNvSpPr/>
          <p:nvPr/>
        </p:nvSpPr>
        <p:spPr>
          <a:xfrm>
            <a:off x="4576763" y="4411663"/>
            <a:ext cx="200025" cy="525462"/>
          </a:xfrm>
          <a:prstGeom prst="rec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E070A08-8EB1-7967-BA82-688CB86E5C01}"/>
              </a:ext>
            </a:extLst>
          </p:cNvPr>
          <p:cNvSpPr/>
          <p:nvPr/>
        </p:nvSpPr>
        <p:spPr>
          <a:xfrm rot="5400000">
            <a:off x="9068594" y="2331244"/>
            <a:ext cx="76200" cy="6170612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0E920A-55E3-BB9C-B8AA-A541AB2E0226}"/>
              </a:ext>
            </a:extLst>
          </p:cNvPr>
          <p:cNvSpPr/>
          <p:nvPr/>
        </p:nvSpPr>
        <p:spPr>
          <a:xfrm>
            <a:off x="8601075" y="1676400"/>
            <a:ext cx="90488" cy="4740275"/>
          </a:xfrm>
          <a:prstGeom prst="rect">
            <a:avLst/>
          </a:prstGeom>
          <a:noFill/>
          <a:ln w="12700">
            <a:solidFill>
              <a:srgbClr val="FF61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EDFFC46-6B04-C3D0-7B59-0C2733EC1302}"/>
              </a:ext>
            </a:extLst>
          </p:cNvPr>
          <p:cNvSpPr/>
          <p:nvPr/>
        </p:nvSpPr>
        <p:spPr>
          <a:xfrm>
            <a:off x="3338513" y="4416425"/>
            <a:ext cx="198437" cy="5238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8437009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TextBox 3">
            <a:extLst>
              <a:ext uri="{FF2B5EF4-FFF2-40B4-BE49-F238E27FC236}">
                <a16:creationId xmlns:a16="http://schemas.microsoft.com/office/drawing/2014/main" id="{44D6EF7D-492F-EE2E-C4C7-70321D0565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1588" y="466725"/>
            <a:ext cx="48006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5: PTC518_and_mut1_mut2</a:t>
            </a:r>
          </a:p>
          <a:p>
            <a:pPr eaLnBrk="1" hangingPunct="1"/>
            <a:r>
              <a:rPr lang="en-US" altLang="en-US"/>
              <a:t>PTC518 have different expression from mut2</a:t>
            </a:r>
          </a:p>
        </p:txBody>
      </p:sp>
      <p:pic>
        <p:nvPicPr>
          <p:cNvPr id="6146" name="Picture 7">
            <a:extLst>
              <a:ext uri="{FF2B5EF4-FFF2-40B4-BE49-F238E27FC236}">
                <a16:creationId xmlns:a16="http://schemas.microsoft.com/office/drawing/2014/main" id="{9D439DB7-3046-5516-0A02-53D0DADB1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9850" y="1295400"/>
            <a:ext cx="6400800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9" descr="A graph with numbers and letters&#10;&#10;Description automatically generated">
            <a:extLst>
              <a:ext uri="{FF2B5EF4-FFF2-40B4-BE49-F238E27FC236}">
                <a16:creationId xmlns:a16="http://schemas.microsoft.com/office/drawing/2014/main" id="{35059CEC-36BE-717A-7487-88E4B4DB72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6638" y="1241425"/>
            <a:ext cx="7353300" cy="510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CE6D2564-3588-8A12-BA56-CD63888C0280}"/>
              </a:ext>
            </a:extLst>
          </p:cNvPr>
          <p:cNvSpPr/>
          <p:nvPr/>
        </p:nvSpPr>
        <p:spPr>
          <a:xfrm rot="5400000">
            <a:off x="9068594" y="2858294"/>
            <a:ext cx="76200" cy="6170612"/>
          </a:xfrm>
          <a:prstGeom prst="rect">
            <a:avLst/>
          </a:prstGeom>
          <a:noFill/>
          <a:ln w="127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E81F271-9D0D-1263-D126-C8FA5573513E}"/>
              </a:ext>
            </a:extLst>
          </p:cNvPr>
          <p:cNvSpPr/>
          <p:nvPr/>
        </p:nvSpPr>
        <p:spPr>
          <a:xfrm>
            <a:off x="3757613" y="4411663"/>
            <a:ext cx="200025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9BDE46A-6C24-CFBF-CBAB-4949FEDF400A}"/>
              </a:ext>
            </a:extLst>
          </p:cNvPr>
          <p:cNvSpPr/>
          <p:nvPr/>
        </p:nvSpPr>
        <p:spPr>
          <a:xfrm rot="5400000">
            <a:off x="9068594" y="2594769"/>
            <a:ext cx="76200" cy="6170612"/>
          </a:xfrm>
          <a:prstGeom prst="rect">
            <a:avLst/>
          </a:prstGeom>
          <a:noFill/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CAF5AD7-E066-F895-DE62-A4197B807B5D}"/>
              </a:ext>
            </a:extLst>
          </p:cNvPr>
          <p:cNvSpPr/>
          <p:nvPr/>
        </p:nvSpPr>
        <p:spPr>
          <a:xfrm rot="5400000">
            <a:off x="9068594" y="2764632"/>
            <a:ext cx="76200" cy="617061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B5C7AD4-1E27-64EE-44A3-6D01862D9EE1}"/>
              </a:ext>
            </a:extLst>
          </p:cNvPr>
          <p:cNvSpPr/>
          <p:nvPr/>
        </p:nvSpPr>
        <p:spPr>
          <a:xfrm>
            <a:off x="4157663" y="4411663"/>
            <a:ext cx="200025" cy="525462"/>
          </a:xfrm>
          <a:prstGeom prst="rect">
            <a:avLst/>
          </a:prstGeom>
          <a:noFill/>
          <a:ln w="1905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DA2C969-CF07-B719-C598-7EA77AA40500}"/>
              </a:ext>
            </a:extLst>
          </p:cNvPr>
          <p:cNvSpPr/>
          <p:nvPr/>
        </p:nvSpPr>
        <p:spPr>
          <a:xfrm>
            <a:off x="4576763" y="4411663"/>
            <a:ext cx="200025" cy="525462"/>
          </a:xfrm>
          <a:prstGeom prst="rec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1AAE8AF-7EE6-573E-BE9D-57A19F317056}"/>
              </a:ext>
            </a:extLst>
          </p:cNvPr>
          <p:cNvSpPr/>
          <p:nvPr/>
        </p:nvSpPr>
        <p:spPr>
          <a:xfrm rot="5400000">
            <a:off x="9068594" y="2680494"/>
            <a:ext cx="76200" cy="6170612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F602D59-304F-AE36-BE7E-FF77DCB7DFA8}"/>
              </a:ext>
            </a:extLst>
          </p:cNvPr>
          <p:cNvSpPr/>
          <p:nvPr/>
        </p:nvSpPr>
        <p:spPr>
          <a:xfrm>
            <a:off x="3338513" y="4416425"/>
            <a:ext cx="198437" cy="5238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062CF28-C9C3-FA44-F40B-C0047E1A5146}"/>
              </a:ext>
            </a:extLst>
          </p:cNvPr>
          <p:cNvSpPr/>
          <p:nvPr/>
        </p:nvSpPr>
        <p:spPr>
          <a:xfrm>
            <a:off x="8232775" y="1676400"/>
            <a:ext cx="90488" cy="4740275"/>
          </a:xfrm>
          <a:prstGeom prst="rect">
            <a:avLst/>
          </a:prstGeom>
          <a:noFill/>
          <a:ln w="127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3E6FB6F-9CB7-BDF3-064F-989201020FE0}"/>
              </a:ext>
            </a:extLst>
          </p:cNvPr>
          <p:cNvSpPr/>
          <p:nvPr/>
        </p:nvSpPr>
        <p:spPr>
          <a:xfrm>
            <a:off x="8326438" y="1676400"/>
            <a:ext cx="90487" cy="4740275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C93891C-CBA7-42A1-38F3-983CF4236700}"/>
              </a:ext>
            </a:extLst>
          </p:cNvPr>
          <p:cNvSpPr/>
          <p:nvPr/>
        </p:nvSpPr>
        <p:spPr>
          <a:xfrm>
            <a:off x="8424863" y="1676400"/>
            <a:ext cx="90487" cy="4740275"/>
          </a:xfrm>
          <a:prstGeom prst="rect">
            <a:avLst/>
          </a:prstGeom>
          <a:noFill/>
          <a:ln w="12700">
            <a:solidFill>
              <a:srgbClr val="AC6EF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2FE907E-B9CC-CA2A-2C84-C62BC4EB4FFF}"/>
              </a:ext>
            </a:extLst>
          </p:cNvPr>
          <p:cNvSpPr/>
          <p:nvPr/>
        </p:nvSpPr>
        <p:spPr>
          <a:xfrm>
            <a:off x="8523288" y="1676400"/>
            <a:ext cx="90487" cy="4740275"/>
          </a:xfrm>
          <a:prstGeom prst="rect">
            <a:avLst/>
          </a:prstGeom>
          <a:noFill/>
          <a:ln w="12700">
            <a:solidFill>
              <a:srgbClr val="FF61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84687480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extBox 3">
            <a:extLst>
              <a:ext uri="{FF2B5EF4-FFF2-40B4-BE49-F238E27FC236}">
                <a16:creationId xmlns:a16="http://schemas.microsoft.com/office/drawing/2014/main" id="{5B8096D7-2558-ABC5-4AC4-1C305286E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9738" y="466725"/>
            <a:ext cx="41878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6: Branaplam_and_mut1_mut2</a:t>
            </a:r>
          </a:p>
        </p:txBody>
      </p:sp>
      <p:pic>
        <p:nvPicPr>
          <p:cNvPr id="7170" name="Picture 7">
            <a:extLst>
              <a:ext uri="{FF2B5EF4-FFF2-40B4-BE49-F238E27FC236}">
                <a16:creationId xmlns:a16="http://schemas.microsoft.com/office/drawing/2014/main" id="{9C423EF4-1718-81F8-AE62-B9B16F490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79563" y="1503363"/>
            <a:ext cx="6400801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9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EB42DBD8-EAAF-59C6-94F3-BE2303C0F3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5013" y="1249363"/>
            <a:ext cx="7491412" cy="525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093209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extBox 3">
            <a:extLst>
              <a:ext uri="{FF2B5EF4-FFF2-40B4-BE49-F238E27FC236}">
                <a16:creationId xmlns:a16="http://schemas.microsoft.com/office/drawing/2014/main" id="{F35A6C64-11AC-D88C-B285-C4A10D9B36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9738" y="466725"/>
            <a:ext cx="46736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7: PTC518_and_Branaplam_and_WT</a:t>
            </a:r>
          </a:p>
        </p:txBody>
      </p:sp>
      <p:pic>
        <p:nvPicPr>
          <p:cNvPr id="8194" name="Picture 2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C670D4E2-2BC7-C398-E1B0-B9795ED2E8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550" y="1093788"/>
            <a:ext cx="5072063" cy="57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7">
            <a:extLst>
              <a:ext uri="{FF2B5EF4-FFF2-40B4-BE49-F238E27FC236}">
                <a16:creationId xmlns:a16="http://schemas.microsoft.com/office/drawing/2014/main" id="{0F21001B-469C-A58D-7421-104BB4C8D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800" y="1360488"/>
            <a:ext cx="6400800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758195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7">
            <a:extLst>
              <a:ext uri="{FF2B5EF4-FFF2-40B4-BE49-F238E27FC236}">
                <a16:creationId xmlns:a16="http://schemas.microsoft.com/office/drawing/2014/main" id="{E34E7951-F671-DBEE-A8EC-9B12D02E69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22375" y="1257300"/>
            <a:ext cx="6211888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2652538-4B4C-C3EB-6425-D57CA0A97D05}"/>
              </a:ext>
            </a:extLst>
          </p:cNvPr>
          <p:cNvSpPr/>
          <p:nvPr/>
        </p:nvSpPr>
        <p:spPr>
          <a:xfrm>
            <a:off x="3338513" y="4411663"/>
            <a:ext cx="254000" cy="52546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4D01F4-5F2E-2520-3C0F-AC203AC34282}"/>
              </a:ext>
            </a:extLst>
          </p:cNvPr>
          <p:cNvSpPr/>
          <p:nvPr/>
        </p:nvSpPr>
        <p:spPr>
          <a:xfrm>
            <a:off x="3797300" y="4411663"/>
            <a:ext cx="254000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105" name="TextBox 16">
            <a:extLst>
              <a:ext uri="{FF2B5EF4-FFF2-40B4-BE49-F238E27FC236}">
                <a16:creationId xmlns:a16="http://schemas.microsoft.com/office/drawing/2014/main" id="{80632205-89BF-CCA7-C292-E827E2D206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563" y="241300"/>
            <a:ext cx="708977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EG-Group3: WT_mut2</a:t>
            </a:r>
          </a:p>
          <a:p>
            <a:pPr eaLnBrk="1" hangingPunct="1"/>
            <a:r>
              <a:rPr lang="en-US" altLang="en-US" dirty="0"/>
              <a:t>mut2-500 causes few DEG transcription, majority of them are through NMD</a:t>
            </a:r>
          </a:p>
          <a:p>
            <a:pPr eaLnBrk="1" hangingPunct="1"/>
            <a:r>
              <a:rPr lang="en-US" altLang="en-US" dirty="0"/>
              <a:t> VS DMSO and DMSO-CHX  while Mut2-100 has no effects</a:t>
            </a:r>
          </a:p>
        </p:txBody>
      </p:sp>
      <p:pic>
        <p:nvPicPr>
          <p:cNvPr id="3" name="Picture 2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C145B1DF-4E46-26B7-6B32-1587A9E627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7323" y="1016001"/>
            <a:ext cx="5292113" cy="490010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3681A5A-6A87-F19F-92CB-38C0A12DF7CE}"/>
              </a:ext>
            </a:extLst>
          </p:cNvPr>
          <p:cNvSpPr/>
          <p:nvPr/>
        </p:nvSpPr>
        <p:spPr>
          <a:xfrm>
            <a:off x="9739314" y="1463851"/>
            <a:ext cx="182685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DFE5C2-BFD9-D3AE-94B1-9A9DF02D5A4E}"/>
              </a:ext>
            </a:extLst>
          </p:cNvPr>
          <p:cNvSpPr/>
          <p:nvPr/>
        </p:nvSpPr>
        <p:spPr>
          <a:xfrm rot="5400000">
            <a:off x="8845476" y="2568248"/>
            <a:ext cx="208083" cy="601184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3413BE-6BC8-3D5B-6940-94BD64DCEB37}"/>
              </a:ext>
            </a:extLst>
          </p:cNvPr>
          <p:cNvSpPr/>
          <p:nvPr/>
        </p:nvSpPr>
        <p:spPr>
          <a:xfrm rot="5400000">
            <a:off x="8845477" y="2316655"/>
            <a:ext cx="208083" cy="6011840"/>
          </a:xfrm>
          <a:prstGeom prst="rect">
            <a:avLst/>
          </a:prstGeom>
          <a:noFill/>
          <a:ln w="12700">
            <a:solidFill>
              <a:srgbClr val="0067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chemeClr val="accent6">
                  <a:lumMod val="75000"/>
                </a:schemeClr>
              </a:solidFill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extBox 3">
            <a:extLst>
              <a:ext uri="{FF2B5EF4-FFF2-40B4-BE49-F238E27FC236}">
                <a16:creationId xmlns:a16="http://schemas.microsoft.com/office/drawing/2014/main" id="{7FD37BF9-FE8B-FB6D-FB69-73A556E5FF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9738" y="466725"/>
            <a:ext cx="29733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1: DSMO_and_WT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extBox 3">
            <a:extLst>
              <a:ext uri="{FF2B5EF4-FFF2-40B4-BE49-F238E27FC236}">
                <a16:creationId xmlns:a16="http://schemas.microsoft.com/office/drawing/2014/main" id="{75CBB6BB-0CF7-1D42-154B-4D3E7DE1F1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9738" y="466725"/>
            <a:ext cx="29733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1: DSMO_and_WT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58169A8-B663-F716-C27E-99492E10751E}"/>
              </a:ext>
            </a:extLst>
          </p:cNvPr>
          <p:cNvSpPr/>
          <p:nvPr/>
        </p:nvSpPr>
        <p:spPr>
          <a:xfrm>
            <a:off x="4949825" y="466725"/>
            <a:ext cx="523875" cy="4032250"/>
          </a:xfrm>
          <a:prstGeom prst="rect">
            <a:avLst/>
          </a:prstGeom>
          <a:noFill/>
          <a:ln w="1905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335B2CC-8216-4B11-B798-645160403E48}"/>
              </a:ext>
            </a:extLst>
          </p:cNvPr>
          <p:cNvSpPr/>
          <p:nvPr/>
        </p:nvSpPr>
        <p:spPr>
          <a:xfrm>
            <a:off x="5765800" y="463550"/>
            <a:ext cx="525463" cy="403066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65801A-659C-32F4-9C0A-78567669988E}"/>
              </a:ext>
            </a:extLst>
          </p:cNvPr>
          <p:cNvSpPr/>
          <p:nvPr/>
        </p:nvSpPr>
        <p:spPr>
          <a:xfrm>
            <a:off x="1947863" y="942975"/>
            <a:ext cx="246062" cy="402272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C0708A-4FEB-F976-6DF2-9E1DD52C0CBB}"/>
              </a:ext>
            </a:extLst>
          </p:cNvPr>
          <p:cNvSpPr/>
          <p:nvPr/>
        </p:nvSpPr>
        <p:spPr>
          <a:xfrm>
            <a:off x="8037513" y="1676400"/>
            <a:ext cx="88900" cy="4741863"/>
          </a:xfrm>
          <a:prstGeom prst="rect">
            <a:avLst/>
          </a:prstGeom>
          <a:noFill/>
          <a:ln w="127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A6A3F8-D00D-39E4-0E6D-DC9E975A4521}"/>
              </a:ext>
            </a:extLst>
          </p:cNvPr>
          <p:cNvSpPr/>
          <p:nvPr/>
        </p:nvSpPr>
        <p:spPr>
          <a:xfrm rot="5400000">
            <a:off x="3564732" y="3112293"/>
            <a:ext cx="209550" cy="6170613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63ED8D-5979-D91E-84DC-01C4CA9A663E}"/>
              </a:ext>
            </a:extLst>
          </p:cNvPr>
          <p:cNvSpPr/>
          <p:nvPr/>
        </p:nvSpPr>
        <p:spPr>
          <a:xfrm rot="5400000">
            <a:off x="3755232" y="2209006"/>
            <a:ext cx="411162" cy="6169025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2C040C-C749-B6A6-45F8-F237A1F96A40}"/>
              </a:ext>
            </a:extLst>
          </p:cNvPr>
          <p:cNvSpPr/>
          <p:nvPr/>
        </p:nvSpPr>
        <p:spPr>
          <a:xfrm rot="5400000">
            <a:off x="3043238" y="3603625"/>
            <a:ext cx="117475" cy="6067425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5BE24E-BC35-7234-053A-4FCE195B3211}"/>
              </a:ext>
            </a:extLst>
          </p:cNvPr>
          <p:cNvSpPr/>
          <p:nvPr/>
        </p:nvSpPr>
        <p:spPr>
          <a:xfrm>
            <a:off x="3338513" y="4411663"/>
            <a:ext cx="254000" cy="52546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DBEA9E-A875-E243-F3C0-2913F2F82E05}"/>
              </a:ext>
            </a:extLst>
          </p:cNvPr>
          <p:cNvSpPr/>
          <p:nvPr/>
        </p:nvSpPr>
        <p:spPr>
          <a:xfrm>
            <a:off x="2338388" y="4440238"/>
            <a:ext cx="254000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BEF762-AF35-5637-F996-E2610CCBD055}"/>
              </a:ext>
            </a:extLst>
          </p:cNvPr>
          <p:cNvSpPr/>
          <p:nvPr/>
        </p:nvSpPr>
        <p:spPr>
          <a:xfrm rot="5400000">
            <a:off x="3047206" y="3388520"/>
            <a:ext cx="111125" cy="6170612"/>
          </a:xfrm>
          <a:prstGeom prst="rect">
            <a:avLst/>
          </a:prstGeom>
          <a:noFill/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extBox 3">
            <a:extLst>
              <a:ext uri="{FF2B5EF4-FFF2-40B4-BE49-F238E27FC236}">
                <a16:creationId xmlns:a16="http://schemas.microsoft.com/office/drawing/2014/main" id="{1CA57F47-DA4F-C29E-639D-354CAF5E87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9738" y="466725"/>
            <a:ext cx="14208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6: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TextBox 3">
            <a:extLst>
              <a:ext uri="{FF2B5EF4-FFF2-40B4-BE49-F238E27FC236}">
                <a16:creationId xmlns:a16="http://schemas.microsoft.com/office/drawing/2014/main" id="{F422A590-288E-3797-29E5-C9904B75C7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0850" y="466725"/>
            <a:ext cx="498316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/>
              <a:t>DEG-Group4: BIO5127_and_mut1_mut2</a:t>
            </a:r>
          </a:p>
          <a:p>
            <a:pPr eaLnBrk="1" hangingPunct="1"/>
            <a:r>
              <a:rPr lang="en-US" altLang="en-US"/>
              <a:t>BIO5127 are less different from mut2 than muta1</a:t>
            </a:r>
          </a:p>
        </p:txBody>
      </p:sp>
      <p:pic>
        <p:nvPicPr>
          <p:cNvPr id="5122" name="Picture 7">
            <a:extLst>
              <a:ext uri="{FF2B5EF4-FFF2-40B4-BE49-F238E27FC236}">
                <a16:creationId xmlns:a16="http://schemas.microsoft.com/office/drawing/2014/main" id="{708521B5-A6C7-3101-509E-01F668B04A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913" y="1177925"/>
            <a:ext cx="6400801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A50BAE2-2895-2119-6E60-A609FAA727E4}"/>
              </a:ext>
            </a:extLst>
          </p:cNvPr>
          <p:cNvSpPr/>
          <p:nvPr/>
        </p:nvSpPr>
        <p:spPr>
          <a:xfrm>
            <a:off x="3338513" y="4411663"/>
            <a:ext cx="198437" cy="52546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EA6446-FDCD-A5F8-7BDB-61EC22A5EA40}"/>
              </a:ext>
            </a:extLst>
          </p:cNvPr>
          <p:cNvSpPr/>
          <p:nvPr/>
        </p:nvSpPr>
        <p:spPr>
          <a:xfrm>
            <a:off x="3757613" y="4411663"/>
            <a:ext cx="200025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AEA5CC-A682-5FB1-A8BD-7B9B64CA1AC2}"/>
              </a:ext>
            </a:extLst>
          </p:cNvPr>
          <p:cNvSpPr/>
          <p:nvPr/>
        </p:nvSpPr>
        <p:spPr>
          <a:xfrm>
            <a:off x="4157663" y="4411663"/>
            <a:ext cx="200025" cy="525462"/>
          </a:xfrm>
          <a:prstGeom prst="rect">
            <a:avLst/>
          </a:prstGeom>
          <a:noFill/>
          <a:ln w="1905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EDFFC46-6B04-C3D0-7B59-0C2733EC1302}"/>
              </a:ext>
            </a:extLst>
          </p:cNvPr>
          <p:cNvSpPr/>
          <p:nvPr/>
        </p:nvSpPr>
        <p:spPr>
          <a:xfrm>
            <a:off x="3338513" y="4416425"/>
            <a:ext cx="198437" cy="5238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pic>
        <p:nvPicPr>
          <p:cNvPr id="3" name="Picture 2" descr="A graph of numbers and lines&#10;&#10;Description automatically generated">
            <a:extLst>
              <a:ext uri="{FF2B5EF4-FFF2-40B4-BE49-F238E27FC236}">
                <a16:creationId xmlns:a16="http://schemas.microsoft.com/office/drawing/2014/main" id="{F6C6F23C-1C8D-9237-7339-0E1347F99D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4999" y="1177925"/>
            <a:ext cx="6477001" cy="482306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75954BB-CF69-C534-43E4-303D41E5F5C8}"/>
              </a:ext>
            </a:extLst>
          </p:cNvPr>
          <p:cNvSpPr/>
          <p:nvPr/>
        </p:nvSpPr>
        <p:spPr>
          <a:xfrm>
            <a:off x="9284678" y="1580794"/>
            <a:ext cx="150814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B7BE9B-ECD8-6961-4786-C3915BD1E9FD}"/>
              </a:ext>
            </a:extLst>
          </p:cNvPr>
          <p:cNvSpPr/>
          <p:nvPr/>
        </p:nvSpPr>
        <p:spPr>
          <a:xfrm rot="5400000">
            <a:off x="8805495" y="2397613"/>
            <a:ext cx="208086" cy="6564923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C7ADE07-7F67-D800-55F9-B260C7AE7654}"/>
              </a:ext>
            </a:extLst>
          </p:cNvPr>
          <p:cNvSpPr/>
          <p:nvPr/>
        </p:nvSpPr>
        <p:spPr>
          <a:xfrm rot="5400000">
            <a:off x="8805493" y="2144156"/>
            <a:ext cx="208085" cy="6564925"/>
          </a:xfrm>
          <a:prstGeom prst="rect">
            <a:avLst/>
          </a:prstGeom>
          <a:noFill/>
          <a:ln w="12700">
            <a:solidFill>
              <a:srgbClr val="0067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824FFA-F291-662F-2B05-391BFB3D75A1}"/>
              </a:ext>
            </a:extLst>
          </p:cNvPr>
          <p:cNvSpPr/>
          <p:nvPr/>
        </p:nvSpPr>
        <p:spPr>
          <a:xfrm rot="5400000">
            <a:off x="8805493" y="1890700"/>
            <a:ext cx="208085" cy="6564927"/>
          </a:xfrm>
          <a:prstGeom prst="rect">
            <a:avLst/>
          </a:prstGeom>
          <a:noFill/>
          <a:ln w="127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rgbClr val="1206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BB5CB2E-41F1-18B4-6B2A-8AE9D6DF3C40}"/>
              </a:ext>
            </a:extLst>
          </p:cNvPr>
          <p:cNvSpPr/>
          <p:nvPr/>
        </p:nvSpPr>
        <p:spPr>
          <a:xfrm>
            <a:off x="4576763" y="4411663"/>
            <a:ext cx="200025" cy="525462"/>
          </a:xfrm>
          <a:prstGeom prst="rect">
            <a:avLst/>
          </a:prstGeom>
          <a:noFill/>
          <a:ln w="19050">
            <a:solidFill>
              <a:srgbClr val="BF9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487DE2-EACB-6D95-FD4C-C60D9B6544F8}"/>
              </a:ext>
            </a:extLst>
          </p:cNvPr>
          <p:cNvSpPr/>
          <p:nvPr/>
        </p:nvSpPr>
        <p:spPr>
          <a:xfrm>
            <a:off x="9435492" y="1580794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3D6C6B-4AE5-93ED-7972-C062884FE54B}"/>
              </a:ext>
            </a:extLst>
          </p:cNvPr>
          <p:cNvSpPr/>
          <p:nvPr/>
        </p:nvSpPr>
        <p:spPr>
          <a:xfrm>
            <a:off x="9571892" y="1580793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C772FDD-8356-6202-2DB6-D205D987AF16}"/>
              </a:ext>
            </a:extLst>
          </p:cNvPr>
          <p:cNvSpPr/>
          <p:nvPr/>
        </p:nvSpPr>
        <p:spPr>
          <a:xfrm rot="5400000">
            <a:off x="8805493" y="1637245"/>
            <a:ext cx="208085" cy="6564927"/>
          </a:xfrm>
          <a:prstGeom prst="rect">
            <a:avLst/>
          </a:prstGeom>
          <a:noFill/>
          <a:ln w="12700">
            <a:solidFill>
              <a:srgbClr val="BF9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rgbClr val="1206FF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TextBox 3">
            <a:extLst>
              <a:ext uri="{FF2B5EF4-FFF2-40B4-BE49-F238E27FC236}">
                <a16:creationId xmlns:a16="http://schemas.microsoft.com/office/drawing/2014/main" id="{44D6EF7D-492F-EE2E-C4C7-70321D0565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1588" y="466725"/>
            <a:ext cx="48006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EG-Group5: PTC518_and_mut1_mut2</a:t>
            </a:r>
          </a:p>
          <a:p>
            <a:pPr eaLnBrk="1" hangingPunct="1"/>
            <a:r>
              <a:rPr lang="en-US" altLang="en-US" dirty="0"/>
              <a:t>PTC518 induced different gene expression from mut2</a:t>
            </a:r>
          </a:p>
        </p:txBody>
      </p:sp>
      <p:pic>
        <p:nvPicPr>
          <p:cNvPr id="6146" name="Picture 7">
            <a:extLst>
              <a:ext uri="{FF2B5EF4-FFF2-40B4-BE49-F238E27FC236}">
                <a16:creationId xmlns:a16="http://schemas.microsoft.com/office/drawing/2014/main" id="{9D439DB7-3046-5516-0A02-53D0DADB1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9850" y="1295400"/>
            <a:ext cx="6400800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4E81F271-9D0D-1263-D126-C8FA5573513E}"/>
              </a:ext>
            </a:extLst>
          </p:cNvPr>
          <p:cNvSpPr/>
          <p:nvPr/>
        </p:nvSpPr>
        <p:spPr>
          <a:xfrm>
            <a:off x="3757613" y="4411663"/>
            <a:ext cx="200025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B5C7AD4-1E27-64EE-44A3-6D01862D9EE1}"/>
              </a:ext>
            </a:extLst>
          </p:cNvPr>
          <p:cNvSpPr/>
          <p:nvPr/>
        </p:nvSpPr>
        <p:spPr>
          <a:xfrm>
            <a:off x="4157663" y="4411663"/>
            <a:ext cx="200025" cy="525462"/>
          </a:xfrm>
          <a:prstGeom prst="rect">
            <a:avLst/>
          </a:prstGeom>
          <a:noFill/>
          <a:ln w="1905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DA2C969-CF07-B719-C598-7EA77AA40500}"/>
              </a:ext>
            </a:extLst>
          </p:cNvPr>
          <p:cNvSpPr/>
          <p:nvPr/>
        </p:nvSpPr>
        <p:spPr>
          <a:xfrm>
            <a:off x="4576763" y="4411663"/>
            <a:ext cx="200025" cy="525462"/>
          </a:xfrm>
          <a:prstGeom prst="rec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F602D59-304F-AE36-BE7E-FF77DCB7DFA8}"/>
              </a:ext>
            </a:extLst>
          </p:cNvPr>
          <p:cNvSpPr/>
          <p:nvPr/>
        </p:nvSpPr>
        <p:spPr>
          <a:xfrm>
            <a:off x="3338513" y="4416425"/>
            <a:ext cx="198437" cy="5238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pic>
        <p:nvPicPr>
          <p:cNvPr id="3" name="Picture 2" descr="A graph of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BF543BA4-EA9B-A119-76D3-5ECA766890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0846" y="1112838"/>
            <a:ext cx="6041429" cy="489438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451208E-3B12-E001-4F1F-C41CDF366E83}"/>
              </a:ext>
            </a:extLst>
          </p:cNvPr>
          <p:cNvSpPr/>
          <p:nvPr/>
        </p:nvSpPr>
        <p:spPr>
          <a:xfrm>
            <a:off x="9284678" y="1580794"/>
            <a:ext cx="150814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98CD15-C250-31E2-C6ED-555361634B9D}"/>
              </a:ext>
            </a:extLst>
          </p:cNvPr>
          <p:cNvSpPr/>
          <p:nvPr/>
        </p:nvSpPr>
        <p:spPr>
          <a:xfrm rot="5400000">
            <a:off x="8805495" y="2397613"/>
            <a:ext cx="208086" cy="6564923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7DF7A95-9C3F-120D-34BD-83252EDD3415}"/>
              </a:ext>
            </a:extLst>
          </p:cNvPr>
          <p:cNvSpPr/>
          <p:nvPr/>
        </p:nvSpPr>
        <p:spPr>
          <a:xfrm rot="5400000">
            <a:off x="8805493" y="2144156"/>
            <a:ext cx="208085" cy="6564925"/>
          </a:xfrm>
          <a:prstGeom prst="rect">
            <a:avLst/>
          </a:prstGeom>
          <a:noFill/>
          <a:ln w="12700">
            <a:solidFill>
              <a:srgbClr val="0067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D76EE8-54FC-AC7E-77FD-AAF60B182EA1}"/>
              </a:ext>
            </a:extLst>
          </p:cNvPr>
          <p:cNvSpPr/>
          <p:nvPr/>
        </p:nvSpPr>
        <p:spPr>
          <a:xfrm rot="5400000">
            <a:off x="8805493" y="1890700"/>
            <a:ext cx="208085" cy="6564927"/>
          </a:xfrm>
          <a:prstGeom prst="rect">
            <a:avLst/>
          </a:prstGeom>
          <a:noFill/>
          <a:ln w="127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rgbClr val="1206FF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9F0195-A387-3FC0-0ECF-EB109667706A}"/>
              </a:ext>
            </a:extLst>
          </p:cNvPr>
          <p:cNvSpPr/>
          <p:nvPr/>
        </p:nvSpPr>
        <p:spPr>
          <a:xfrm>
            <a:off x="9435492" y="1580794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618207-99E8-FD80-E1D1-32A9EC2DF1DB}"/>
              </a:ext>
            </a:extLst>
          </p:cNvPr>
          <p:cNvSpPr/>
          <p:nvPr/>
        </p:nvSpPr>
        <p:spPr>
          <a:xfrm>
            <a:off x="9571892" y="1580793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7E2E60-0C56-74C5-BA28-DC11CE867CC4}"/>
              </a:ext>
            </a:extLst>
          </p:cNvPr>
          <p:cNvSpPr/>
          <p:nvPr/>
        </p:nvSpPr>
        <p:spPr>
          <a:xfrm rot="5400000">
            <a:off x="8805493" y="1637245"/>
            <a:ext cx="208085" cy="6564927"/>
          </a:xfrm>
          <a:prstGeom prst="rect">
            <a:avLst/>
          </a:prstGeom>
          <a:noFill/>
          <a:ln w="12700">
            <a:solidFill>
              <a:srgbClr val="BF9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rgbClr val="1206FF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extBox 3">
            <a:extLst>
              <a:ext uri="{FF2B5EF4-FFF2-40B4-BE49-F238E27FC236}">
                <a16:creationId xmlns:a16="http://schemas.microsoft.com/office/drawing/2014/main" id="{5B8096D7-2558-ABC5-4AC4-1C305286E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4017" y="314325"/>
            <a:ext cx="418742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EG-Group6: Branaplam_and_mut1_mut2</a:t>
            </a:r>
          </a:p>
          <a:p>
            <a:pPr eaLnBrk="1" hangingPunct="1"/>
            <a:r>
              <a:rPr lang="en-US" altLang="en-US" dirty="0" err="1"/>
              <a:t>Branaplam</a:t>
            </a:r>
            <a:r>
              <a:rPr lang="en-US" altLang="en-US" dirty="0"/>
              <a:t> induced modest splice changes</a:t>
            </a:r>
          </a:p>
        </p:txBody>
      </p:sp>
      <p:pic>
        <p:nvPicPr>
          <p:cNvPr id="7170" name="Picture 7">
            <a:extLst>
              <a:ext uri="{FF2B5EF4-FFF2-40B4-BE49-F238E27FC236}">
                <a16:creationId xmlns:a16="http://schemas.microsoft.com/office/drawing/2014/main" id="{9C423EF4-1718-81F8-AE62-B9B16F490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7517" y="1211263"/>
            <a:ext cx="6400801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506520D9-D352-F030-613F-539C64918E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2908" y="1486633"/>
            <a:ext cx="6165362" cy="445110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625B19A-6445-47F3-62DD-D18A5FC91E33}"/>
              </a:ext>
            </a:extLst>
          </p:cNvPr>
          <p:cNvSpPr/>
          <p:nvPr/>
        </p:nvSpPr>
        <p:spPr>
          <a:xfrm>
            <a:off x="3757613" y="4411663"/>
            <a:ext cx="200025" cy="525462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E35850-9F5C-6EC7-AE6E-DEDB1741101C}"/>
              </a:ext>
            </a:extLst>
          </p:cNvPr>
          <p:cNvSpPr/>
          <p:nvPr/>
        </p:nvSpPr>
        <p:spPr>
          <a:xfrm>
            <a:off x="4157663" y="4411663"/>
            <a:ext cx="200025" cy="525462"/>
          </a:xfrm>
          <a:prstGeom prst="rect">
            <a:avLst/>
          </a:prstGeom>
          <a:noFill/>
          <a:ln w="1905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A8D1E0-A80E-92F9-EC49-B8E98AF80044}"/>
              </a:ext>
            </a:extLst>
          </p:cNvPr>
          <p:cNvSpPr/>
          <p:nvPr/>
        </p:nvSpPr>
        <p:spPr>
          <a:xfrm>
            <a:off x="3338513" y="4416425"/>
            <a:ext cx="198437" cy="5238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4BDA91-5513-F52E-9D76-7104AC8F44C7}"/>
              </a:ext>
            </a:extLst>
          </p:cNvPr>
          <p:cNvSpPr/>
          <p:nvPr/>
        </p:nvSpPr>
        <p:spPr>
          <a:xfrm>
            <a:off x="4576763" y="4411663"/>
            <a:ext cx="200025" cy="525462"/>
          </a:xfrm>
          <a:prstGeom prst="rect">
            <a:avLst/>
          </a:prstGeom>
          <a:noFill/>
          <a:ln w="19050">
            <a:solidFill>
              <a:srgbClr val="BF9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98AD55-07DE-2C01-8A3B-28A1938DC13F}"/>
              </a:ext>
            </a:extLst>
          </p:cNvPr>
          <p:cNvSpPr/>
          <p:nvPr/>
        </p:nvSpPr>
        <p:spPr>
          <a:xfrm>
            <a:off x="9383900" y="1586657"/>
            <a:ext cx="150814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010C272-DD2F-DB4D-F6E8-58B1DCF405C5}"/>
              </a:ext>
            </a:extLst>
          </p:cNvPr>
          <p:cNvSpPr/>
          <p:nvPr/>
        </p:nvSpPr>
        <p:spPr>
          <a:xfrm rot="5400000">
            <a:off x="8799635" y="2136679"/>
            <a:ext cx="208086" cy="6564923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7D9E39-9C99-0837-85F8-968480432735}"/>
              </a:ext>
            </a:extLst>
          </p:cNvPr>
          <p:cNvSpPr/>
          <p:nvPr/>
        </p:nvSpPr>
        <p:spPr>
          <a:xfrm rot="5400000">
            <a:off x="8805495" y="1620503"/>
            <a:ext cx="208085" cy="6564925"/>
          </a:xfrm>
          <a:prstGeom prst="rect">
            <a:avLst/>
          </a:prstGeom>
          <a:noFill/>
          <a:ln w="12700">
            <a:solidFill>
              <a:srgbClr val="0067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C0B447-34CB-F741-95E4-2CCF0AE0617C}"/>
              </a:ext>
            </a:extLst>
          </p:cNvPr>
          <p:cNvSpPr/>
          <p:nvPr/>
        </p:nvSpPr>
        <p:spPr>
          <a:xfrm rot="5400000">
            <a:off x="8799638" y="1878993"/>
            <a:ext cx="208085" cy="6564927"/>
          </a:xfrm>
          <a:prstGeom prst="rect">
            <a:avLst/>
          </a:prstGeom>
          <a:noFill/>
          <a:ln w="127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rgbClr val="1206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46C56F-E2C8-D19D-421A-C5246AFE3B1F}"/>
              </a:ext>
            </a:extLst>
          </p:cNvPr>
          <p:cNvSpPr/>
          <p:nvPr/>
        </p:nvSpPr>
        <p:spPr>
          <a:xfrm>
            <a:off x="9534714" y="1586657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702B3A-BD0B-CF7B-7A23-9D17D5982A81}"/>
              </a:ext>
            </a:extLst>
          </p:cNvPr>
          <p:cNvSpPr/>
          <p:nvPr/>
        </p:nvSpPr>
        <p:spPr>
          <a:xfrm>
            <a:off x="9671114" y="1586656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8809EE-485C-674B-2103-A1A96DDB6714}"/>
              </a:ext>
            </a:extLst>
          </p:cNvPr>
          <p:cNvSpPr/>
          <p:nvPr/>
        </p:nvSpPr>
        <p:spPr>
          <a:xfrm rot="5400000">
            <a:off x="8799638" y="2395976"/>
            <a:ext cx="208085" cy="6564927"/>
          </a:xfrm>
          <a:prstGeom prst="rect">
            <a:avLst/>
          </a:prstGeom>
          <a:noFill/>
          <a:ln w="12700">
            <a:solidFill>
              <a:srgbClr val="BF9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solidFill>
                <a:srgbClr val="1206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052AED-5425-9AB9-6D9C-ED4BBEAFDC76}"/>
              </a:ext>
            </a:extLst>
          </p:cNvPr>
          <p:cNvSpPr/>
          <p:nvPr/>
        </p:nvSpPr>
        <p:spPr>
          <a:xfrm>
            <a:off x="9805504" y="1586655"/>
            <a:ext cx="136400" cy="4747357"/>
          </a:xfrm>
          <a:prstGeom prst="rect">
            <a:avLst/>
          </a:prstGeom>
          <a:noFill/>
          <a:ln w="12700">
            <a:solidFill>
              <a:srgbClr val="942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 w="28575">
                <a:solidFill>
                  <a:schemeClr val="tx1"/>
                </a:solidFill>
              </a:ln>
              <a:noFill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extBox 3">
            <a:extLst>
              <a:ext uri="{FF2B5EF4-FFF2-40B4-BE49-F238E27FC236}">
                <a16:creationId xmlns:a16="http://schemas.microsoft.com/office/drawing/2014/main" id="{F35A6C64-11AC-D88C-B285-C4A10D9B36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9481" y="328503"/>
            <a:ext cx="48474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EG-Group7: PTC518_and_Branaplam_and_WT</a:t>
            </a:r>
          </a:p>
          <a:p>
            <a:pPr eaLnBrk="1" hangingPunct="1"/>
            <a:r>
              <a:rPr lang="en-US" altLang="en-US" dirty="0"/>
              <a:t>PTC518 prone to induced more DSG with high WT</a:t>
            </a:r>
          </a:p>
        </p:txBody>
      </p:sp>
      <p:pic>
        <p:nvPicPr>
          <p:cNvPr id="8195" name="Picture 7">
            <a:extLst>
              <a:ext uri="{FF2B5EF4-FFF2-40B4-BE49-F238E27FC236}">
                <a16:creationId xmlns:a16="http://schemas.microsoft.com/office/drawing/2014/main" id="{0F21001B-469C-A58D-7421-104BB4C8D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3644" y="1181444"/>
            <a:ext cx="6400800" cy="64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9DEDF5DE-D319-B199-B782-1EF3273FB3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4558" y="651669"/>
            <a:ext cx="4475711" cy="5738091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TextBox 3">
            <a:extLst>
              <a:ext uri="{FF2B5EF4-FFF2-40B4-BE49-F238E27FC236}">
                <a16:creationId xmlns:a16="http://schemas.microsoft.com/office/drawing/2014/main" id="{708DFEDF-FCE1-FC9B-CABB-1D55C014AD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9738" y="466725"/>
            <a:ext cx="57900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dirty="0"/>
              <a:t>DSG</a:t>
            </a:r>
          </a:p>
          <a:p>
            <a:pPr eaLnBrk="1" hangingPunct="1"/>
            <a:endParaRPr lang="en-US" alt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9</TotalTime>
  <Words>680</Words>
  <Application>Microsoft Macintosh PowerPoint</Application>
  <PresentationFormat>Widescreen</PresentationFormat>
  <Paragraphs>185</Paragraphs>
  <Slides>4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49" baseType="lpstr">
      <vt:lpstr>Calibri</vt:lpstr>
      <vt:lpstr>Arial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hen Gao</dc:creator>
  <cp:lastModifiedBy>Zhen Gao</cp:lastModifiedBy>
  <cp:revision>4</cp:revision>
  <dcterms:created xsi:type="dcterms:W3CDTF">2023-09-04T18:37:33Z</dcterms:created>
  <dcterms:modified xsi:type="dcterms:W3CDTF">2023-09-06T14:29:59Z</dcterms:modified>
</cp:coreProperties>
</file>